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5" r:id="rId2"/>
    <p:sldMasterId id="2147483698" r:id="rId3"/>
  </p:sldMasterIdLst>
  <p:notesMasterIdLst>
    <p:notesMasterId r:id="rId15"/>
  </p:notesMasterIdLst>
  <p:handoutMasterIdLst>
    <p:handoutMasterId r:id="rId16"/>
  </p:handoutMasterIdLst>
  <p:sldIdLst>
    <p:sldId id="2147327644" r:id="rId4"/>
    <p:sldId id="278" r:id="rId5"/>
    <p:sldId id="264" r:id="rId6"/>
    <p:sldId id="2147327634" r:id="rId7"/>
    <p:sldId id="1324" r:id="rId8"/>
    <p:sldId id="2147327633" r:id="rId9"/>
    <p:sldId id="2147327635" r:id="rId10"/>
    <p:sldId id="2147327636" r:id="rId11"/>
    <p:sldId id="2147327641" r:id="rId12"/>
    <p:sldId id="2147327638" r:id="rId13"/>
    <p:sldId id="260" r:id="rId14"/>
  </p:sldIdLst>
  <p:sldSz cx="12192000" cy="6858000"/>
  <p:notesSz cx="6810375" cy="99425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E0E"/>
    <a:srgbClr val="FF33CC"/>
    <a:srgbClr val="0095D9"/>
    <a:srgbClr val="F15106"/>
    <a:srgbClr val="2C2C2C"/>
    <a:srgbClr val="B1B1B1"/>
    <a:srgbClr val="11245E"/>
    <a:srgbClr val="B0FEDE"/>
    <a:srgbClr val="55FDB5"/>
    <a:srgbClr val="3963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4" autoAdjust="0"/>
    <p:restoredTop sz="94694"/>
  </p:normalViewPr>
  <p:slideViewPr>
    <p:cSldViewPr snapToGrid="0">
      <p:cViewPr>
        <p:scale>
          <a:sx n="60" d="100"/>
          <a:sy n="60" d="100"/>
        </p:scale>
        <p:origin x="104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3269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78E834E0-444B-BA31-2A4F-2DCACF5897B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755D6D0-83DF-3950-D15F-ABA79D0EACB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7625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A3E338-E750-463E-B1C5-8FC12C216EF0}" type="datetimeFigureOut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DCA8AA8-730E-DB5C-A716-0E02D8B376F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C8E42D0-2D25-0D31-4F2C-A59C9BE93A2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7625" y="9444038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8CF0E-FFA4-49CD-BAC2-9D2D308E402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66214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789ECF-5FB4-4003-A750-438F0664DEA3}" type="datetimeFigureOut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1038" y="4784835"/>
            <a:ext cx="544830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B187D3-CF72-454B-9A39-0CBAB70F8D8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25101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187D3-CF72-454B-9A39-0CBAB70F8D8F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320370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187D3-CF72-454B-9A39-0CBAB70F8D8F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85067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hyperlink" Target="https://www.adequacy.app" TargetMode="External"/><Relationship Id="rId3" Type="http://schemas.openxmlformats.org/officeDocument/2006/relationships/image" Target="../media/image9.svg"/><Relationship Id="rId7" Type="http://schemas.openxmlformats.org/officeDocument/2006/relationships/hyperlink" Target="https://www.youtube.com/@adequacy_platform" TargetMode="External"/><Relationship Id="rId12" Type="http://schemas.openxmlformats.org/officeDocument/2006/relationships/image" Target="../media/image16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11" Type="http://schemas.openxmlformats.org/officeDocument/2006/relationships/image" Target="../media/image15.png"/><Relationship Id="rId5" Type="http://schemas.openxmlformats.org/officeDocument/2006/relationships/image" Target="../media/image11.png"/><Relationship Id="rId15" Type="http://schemas.openxmlformats.org/officeDocument/2006/relationships/image" Target="../media/image18.svg"/><Relationship Id="rId10" Type="http://schemas.openxmlformats.org/officeDocument/2006/relationships/hyperlink" Target="https://adequacy.app/" TargetMode="External"/><Relationship Id="rId4" Type="http://schemas.openxmlformats.org/officeDocument/2006/relationships/hyperlink" Target="https://www.linkedin.com/company/26572471" TargetMode="External"/><Relationship Id="rId9" Type="http://schemas.openxmlformats.org/officeDocument/2006/relationships/image" Target="../media/image14.svg"/><Relationship Id="rId14" Type="http://schemas.openxmlformats.org/officeDocument/2006/relationships/image" Target="../media/image17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gradFill>
          <a:gsLst>
            <a:gs pos="60000">
              <a:schemeClr val="bg2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C76C900-5E10-54BB-8752-D6712DA263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4864" y="2725679"/>
            <a:ext cx="7074280" cy="1657475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83A0D51-981B-EE96-F53D-6C1EBAA8F6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4864" y="4493097"/>
            <a:ext cx="7074281" cy="124968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F5FEA950-C289-B2E9-93B8-62CDF03192E7}"/>
              </a:ext>
            </a:extLst>
          </p:cNvPr>
          <p:cNvGrpSpPr/>
          <p:nvPr userDrawn="1"/>
        </p:nvGrpSpPr>
        <p:grpSpPr>
          <a:xfrm>
            <a:off x="888105" y="743588"/>
            <a:ext cx="2660047" cy="496633"/>
            <a:chOff x="888105" y="743588"/>
            <a:chExt cx="2660047" cy="496633"/>
          </a:xfrm>
        </p:grpSpPr>
        <p:grpSp>
          <p:nvGrpSpPr>
            <p:cNvPr id="10" name="Graphique 7">
              <a:extLst>
                <a:ext uri="{FF2B5EF4-FFF2-40B4-BE49-F238E27FC236}">
                  <a16:creationId xmlns:a16="http://schemas.microsoft.com/office/drawing/2014/main" id="{D29C44BE-44E2-E549-D781-262E18F2D923}"/>
                </a:ext>
              </a:extLst>
            </p:cNvPr>
            <p:cNvGrpSpPr/>
            <p:nvPr userDrawn="1"/>
          </p:nvGrpSpPr>
          <p:grpSpPr>
            <a:xfrm>
              <a:off x="1429221" y="850078"/>
              <a:ext cx="2118931" cy="254317"/>
              <a:chOff x="1429221" y="850078"/>
              <a:chExt cx="2118931" cy="254317"/>
            </a:xfrm>
            <a:solidFill>
              <a:schemeClr val="tx1"/>
            </a:solidFill>
          </p:grpSpPr>
          <p:sp>
            <p:nvSpPr>
              <p:cNvPr id="11" name="Forme libre : forme 10">
                <a:extLst>
                  <a:ext uri="{FF2B5EF4-FFF2-40B4-BE49-F238E27FC236}">
                    <a16:creationId xmlns:a16="http://schemas.microsoft.com/office/drawing/2014/main" id="{21423A91-5AD6-6767-7B05-F66EA0F31601}"/>
                  </a:ext>
                </a:extLst>
              </p:cNvPr>
              <p:cNvSpPr/>
              <p:nvPr/>
            </p:nvSpPr>
            <p:spPr>
              <a:xfrm>
                <a:off x="1729163" y="853602"/>
                <a:ext cx="214026" cy="244697"/>
              </a:xfrm>
              <a:custGeom>
                <a:avLst/>
                <a:gdLst>
                  <a:gd name="connsiteX0" fmla="*/ 0 w 214026"/>
                  <a:gd name="connsiteY0" fmla="*/ 244697 h 244697"/>
                  <a:gd name="connsiteX1" fmla="*/ 0 w 214026"/>
                  <a:gd name="connsiteY1" fmla="*/ 0 h 244697"/>
                  <a:gd name="connsiteX2" fmla="*/ 71723 w 214026"/>
                  <a:gd name="connsiteY2" fmla="*/ 0 h 244697"/>
                  <a:gd name="connsiteX3" fmla="*/ 178022 w 214026"/>
                  <a:gd name="connsiteY3" fmla="*/ 30671 h 244697"/>
                  <a:gd name="connsiteX4" fmla="*/ 214027 w 214026"/>
                  <a:gd name="connsiteY4" fmla="*/ 121349 h 244697"/>
                  <a:gd name="connsiteX5" fmla="*/ 198025 w 214026"/>
                  <a:gd name="connsiteY5" fmla="*/ 186309 h 244697"/>
                  <a:gd name="connsiteX6" fmla="*/ 152876 w 214026"/>
                  <a:gd name="connsiteY6" fmla="*/ 229362 h 244697"/>
                  <a:gd name="connsiteX7" fmla="*/ 84296 w 214026"/>
                  <a:gd name="connsiteY7" fmla="*/ 244697 h 244697"/>
                  <a:gd name="connsiteX8" fmla="*/ 95 w 214026"/>
                  <a:gd name="connsiteY8" fmla="*/ 244697 h 244697"/>
                  <a:gd name="connsiteX9" fmla="*/ 44196 w 214026"/>
                  <a:gd name="connsiteY9" fmla="*/ 205073 h 244697"/>
                  <a:gd name="connsiteX10" fmla="*/ 82582 w 214026"/>
                  <a:gd name="connsiteY10" fmla="*/ 205073 h 244697"/>
                  <a:gd name="connsiteX11" fmla="*/ 147161 w 214026"/>
                  <a:gd name="connsiteY11" fmla="*/ 184214 h 244697"/>
                  <a:gd name="connsiteX12" fmla="*/ 169259 w 214026"/>
                  <a:gd name="connsiteY12" fmla="*/ 123063 h 244697"/>
                  <a:gd name="connsiteX13" fmla="*/ 146685 w 214026"/>
                  <a:gd name="connsiteY13" fmla="*/ 60293 h 244697"/>
                  <a:gd name="connsiteX14" fmla="*/ 77533 w 214026"/>
                  <a:gd name="connsiteY14" fmla="*/ 39624 h 244697"/>
                  <a:gd name="connsiteX15" fmla="*/ 44196 w 214026"/>
                  <a:gd name="connsiteY15" fmla="*/ 39624 h 244697"/>
                  <a:gd name="connsiteX16" fmla="*/ 44196 w 214026"/>
                  <a:gd name="connsiteY16" fmla="*/ 205073 h 24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4026" h="244697">
                    <a:moveTo>
                      <a:pt x="0" y="244697"/>
                    </a:moveTo>
                    <a:lnTo>
                      <a:pt x="0" y="0"/>
                    </a:lnTo>
                    <a:lnTo>
                      <a:pt x="71723" y="0"/>
                    </a:lnTo>
                    <a:cubicBezTo>
                      <a:pt x="118586" y="0"/>
                      <a:pt x="154019" y="10192"/>
                      <a:pt x="178022" y="30671"/>
                    </a:cubicBezTo>
                    <a:cubicBezTo>
                      <a:pt x="202025" y="51149"/>
                      <a:pt x="214027" y="81344"/>
                      <a:pt x="214027" y="121349"/>
                    </a:cubicBezTo>
                    <a:cubicBezTo>
                      <a:pt x="214027" y="146209"/>
                      <a:pt x="208693" y="167831"/>
                      <a:pt x="198025" y="186309"/>
                    </a:cubicBezTo>
                    <a:cubicBezTo>
                      <a:pt x="187357" y="204788"/>
                      <a:pt x="172307" y="219170"/>
                      <a:pt x="152876" y="229362"/>
                    </a:cubicBezTo>
                    <a:cubicBezTo>
                      <a:pt x="133350" y="239554"/>
                      <a:pt x="110490" y="244697"/>
                      <a:pt x="84296" y="244697"/>
                    </a:cubicBezTo>
                    <a:lnTo>
                      <a:pt x="95" y="244697"/>
                    </a:lnTo>
                    <a:close/>
                    <a:moveTo>
                      <a:pt x="44196" y="205073"/>
                    </a:moveTo>
                    <a:lnTo>
                      <a:pt x="82582" y="205073"/>
                    </a:lnTo>
                    <a:cubicBezTo>
                      <a:pt x="110871" y="205073"/>
                      <a:pt x="132398" y="198120"/>
                      <a:pt x="147161" y="184214"/>
                    </a:cubicBezTo>
                    <a:cubicBezTo>
                      <a:pt x="161925" y="170307"/>
                      <a:pt x="169259" y="149924"/>
                      <a:pt x="169259" y="123063"/>
                    </a:cubicBezTo>
                    <a:cubicBezTo>
                      <a:pt x="169259" y="96202"/>
                      <a:pt x="161735" y="74105"/>
                      <a:pt x="146685" y="60293"/>
                    </a:cubicBezTo>
                    <a:cubicBezTo>
                      <a:pt x="131636" y="46482"/>
                      <a:pt x="108585" y="39624"/>
                      <a:pt x="77533" y="39624"/>
                    </a:cubicBezTo>
                    <a:lnTo>
                      <a:pt x="44196" y="39624"/>
                    </a:lnTo>
                    <a:lnTo>
                      <a:pt x="44196" y="205073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2" name="Forme libre : forme 11">
                <a:extLst>
                  <a:ext uri="{FF2B5EF4-FFF2-40B4-BE49-F238E27FC236}">
                    <a16:creationId xmlns:a16="http://schemas.microsoft.com/office/drawing/2014/main" id="{B062A437-AE3C-47D4-A3A4-7C3D11B8E52B}"/>
                  </a:ext>
                </a:extLst>
              </p:cNvPr>
              <p:cNvSpPr/>
              <p:nvPr/>
            </p:nvSpPr>
            <p:spPr>
              <a:xfrm>
                <a:off x="2021295" y="853602"/>
                <a:ext cx="159258" cy="244697"/>
              </a:xfrm>
              <a:custGeom>
                <a:avLst/>
                <a:gdLst>
                  <a:gd name="connsiteX0" fmla="*/ 155162 w 159258"/>
                  <a:gd name="connsiteY0" fmla="*/ 38576 h 244697"/>
                  <a:gd name="connsiteX1" fmla="*/ 43148 w 159258"/>
                  <a:gd name="connsiteY1" fmla="*/ 38576 h 244697"/>
                  <a:gd name="connsiteX2" fmla="*/ 43148 w 159258"/>
                  <a:gd name="connsiteY2" fmla="*/ 101632 h 244697"/>
                  <a:gd name="connsiteX3" fmla="*/ 149733 w 159258"/>
                  <a:gd name="connsiteY3" fmla="*/ 101632 h 244697"/>
                  <a:gd name="connsiteX4" fmla="*/ 149733 w 159258"/>
                  <a:gd name="connsiteY4" fmla="*/ 140303 h 244697"/>
                  <a:gd name="connsiteX5" fmla="*/ 43148 w 159258"/>
                  <a:gd name="connsiteY5" fmla="*/ 140303 h 244697"/>
                  <a:gd name="connsiteX6" fmla="*/ 43148 w 159258"/>
                  <a:gd name="connsiteY6" fmla="*/ 206121 h 244697"/>
                  <a:gd name="connsiteX7" fmla="*/ 159258 w 159258"/>
                  <a:gd name="connsiteY7" fmla="*/ 206121 h 244697"/>
                  <a:gd name="connsiteX8" fmla="*/ 156210 w 159258"/>
                  <a:gd name="connsiteY8" fmla="*/ 244697 h 244697"/>
                  <a:gd name="connsiteX9" fmla="*/ 0 w 159258"/>
                  <a:gd name="connsiteY9" fmla="*/ 244697 h 244697"/>
                  <a:gd name="connsiteX10" fmla="*/ 0 w 159258"/>
                  <a:gd name="connsiteY10" fmla="*/ 0 h 244697"/>
                  <a:gd name="connsiteX11" fmla="*/ 155162 w 159258"/>
                  <a:gd name="connsiteY11" fmla="*/ 0 h 244697"/>
                  <a:gd name="connsiteX12" fmla="*/ 155162 w 159258"/>
                  <a:gd name="connsiteY12" fmla="*/ 38576 h 24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9258" h="244697">
                    <a:moveTo>
                      <a:pt x="155162" y="38576"/>
                    </a:moveTo>
                    <a:lnTo>
                      <a:pt x="43148" y="38576"/>
                    </a:lnTo>
                    <a:lnTo>
                      <a:pt x="43148" y="101632"/>
                    </a:lnTo>
                    <a:lnTo>
                      <a:pt x="149733" y="101632"/>
                    </a:lnTo>
                    <a:lnTo>
                      <a:pt x="149733" y="140303"/>
                    </a:lnTo>
                    <a:lnTo>
                      <a:pt x="43148" y="140303"/>
                    </a:lnTo>
                    <a:lnTo>
                      <a:pt x="43148" y="206121"/>
                    </a:lnTo>
                    <a:lnTo>
                      <a:pt x="159258" y="206121"/>
                    </a:lnTo>
                    <a:lnTo>
                      <a:pt x="156210" y="244697"/>
                    </a:lnTo>
                    <a:lnTo>
                      <a:pt x="0" y="244697"/>
                    </a:lnTo>
                    <a:lnTo>
                      <a:pt x="0" y="0"/>
                    </a:lnTo>
                    <a:lnTo>
                      <a:pt x="155162" y="0"/>
                    </a:lnTo>
                    <a:lnTo>
                      <a:pt x="155162" y="3857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3" name="Forme libre : forme 12">
                <a:extLst>
                  <a:ext uri="{FF2B5EF4-FFF2-40B4-BE49-F238E27FC236}">
                    <a16:creationId xmlns:a16="http://schemas.microsoft.com/office/drawing/2014/main" id="{CC6C9AA7-1E28-2497-EA84-1A2016958D53}"/>
                  </a:ext>
                </a:extLst>
              </p:cNvPr>
              <p:cNvSpPr/>
              <p:nvPr/>
            </p:nvSpPr>
            <p:spPr>
              <a:xfrm>
                <a:off x="2548885" y="853602"/>
                <a:ext cx="205460" cy="247840"/>
              </a:xfrm>
              <a:custGeom>
                <a:avLst/>
                <a:gdLst>
                  <a:gd name="connsiteX0" fmla="*/ 161258 w 205460"/>
                  <a:gd name="connsiteY0" fmla="*/ 0 h 247840"/>
                  <a:gd name="connsiteX1" fmla="*/ 205073 w 205460"/>
                  <a:gd name="connsiteY1" fmla="*/ 0 h 247840"/>
                  <a:gd name="connsiteX2" fmla="*/ 205454 w 205460"/>
                  <a:gd name="connsiteY2" fmla="*/ 130302 h 247840"/>
                  <a:gd name="connsiteX3" fmla="*/ 193738 w 205460"/>
                  <a:gd name="connsiteY3" fmla="*/ 193262 h 247840"/>
                  <a:gd name="connsiteX4" fmla="*/ 158782 w 205460"/>
                  <a:gd name="connsiteY4" fmla="*/ 233744 h 247840"/>
                  <a:gd name="connsiteX5" fmla="*/ 103632 w 205460"/>
                  <a:gd name="connsiteY5" fmla="*/ 247841 h 247840"/>
                  <a:gd name="connsiteX6" fmla="*/ 26003 w 205460"/>
                  <a:gd name="connsiteY6" fmla="*/ 221456 h 247840"/>
                  <a:gd name="connsiteX7" fmla="*/ 0 w 205460"/>
                  <a:gd name="connsiteY7" fmla="*/ 140970 h 247840"/>
                  <a:gd name="connsiteX8" fmla="*/ 0 w 205460"/>
                  <a:gd name="connsiteY8" fmla="*/ 0 h 247840"/>
                  <a:gd name="connsiteX9" fmla="*/ 44196 w 205460"/>
                  <a:gd name="connsiteY9" fmla="*/ 0 h 247840"/>
                  <a:gd name="connsiteX10" fmla="*/ 44196 w 205460"/>
                  <a:gd name="connsiteY10" fmla="*/ 137541 h 247840"/>
                  <a:gd name="connsiteX11" fmla="*/ 58960 w 205460"/>
                  <a:gd name="connsiteY11" fmla="*/ 190976 h 247840"/>
                  <a:gd name="connsiteX12" fmla="*/ 102965 w 205460"/>
                  <a:gd name="connsiteY12" fmla="*/ 207550 h 247840"/>
                  <a:gd name="connsiteX13" fmla="*/ 147256 w 205460"/>
                  <a:gd name="connsiteY13" fmla="*/ 188214 h 247840"/>
                  <a:gd name="connsiteX14" fmla="*/ 161734 w 205460"/>
                  <a:gd name="connsiteY14" fmla="*/ 128207 h 247840"/>
                  <a:gd name="connsiteX15" fmla="*/ 161354 w 205460"/>
                  <a:gd name="connsiteY15" fmla="*/ 0 h 24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5460" h="247840">
                    <a:moveTo>
                      <a:pt x="161258" y="0"/>
                    </a:moveTo>
                    <a:lnTo>
                      <a:pt x="205073" y="0"/>
                    </a:lnTo>
                    <a:lnTo>
                      <a:pt x="205454" y="130302"/>
                    </a:lnTo>
                    <a:cubicBezTo>
                      <a:pt x="205645" y="154686"/>
                      <a:pt x="201739" y="175641"/>
                      <a:pt x="193738" y="193262"/>
                    </a:cubicBezTo>
                    <a:cubicBezTo>
                      <a:pt x="185738" y="210884"/>
                      <a:pt x="174022" y="224314"/>
                      <a:pt x="158782" y="233744"/>
                    </a:cubicBezTo>
                    <a:cubicBezTo>
                      <a:pt x="143542" y="243173"/>
                      <a:pt x="125063" y="247841"/>
                      <a:pt x="103632" y="247841"/>
                    </a:cubicBezTo>
                    <a:cubicBezTo>
                      <a:pt x="69247" y="247841"/>
                      <a:pt x="43339" y="239078"/>
                      <a:pt x="26003" y="221456"/>
                    </a:cubicBezTo>
                    <a:cubicBezTo>
                      <a:pt x="8668" y="203835"/>
                      <a:pt x="0" y="177070"/>
                      <a:pt x="0" y="140970"/>
                    </a:cubicBezTo>
                    <a:lnTo>
                      <a:pt x="0" y="0"/>
                    </a:lnTo>
                    <a:lnTo>
                      <a:pt x="44196" y="0"/>
                    </a:lnTo>
                    <a:lnTo>
                      <a:pt x="44196" y="137541"/>
                    </a:lnTo>
                    <a:cubicBezTo>
                      <a:pt x="44196" y="162116"/>
                      <a:pt x="49149" y="179927"/>
                      <a:pt x="58960" y="190976"/>
                    </a:cubicBezTo>
                    <a:cubicBezTo>
                      <a:pt x="68771" y="202025"/>
                      <a:pt x="83439" y="207550"/>
                      <a:pt x="102965" y="207550"/>
                    </a:cubicBezTo>
                    <a:cubicBezTo>
                      <a:pt x="122492" y="207550"/>
                      <a:pt x="137446" y="201168"/>
                      <a:pt x="147256" y="188214"/>
                    </a:cubicBezTo>
                    <a:cubicBezTo>
                      <a:pt x="157067" y="175355"/>
                      <a:pt x="161925" y="155353"/>
                      <a:pt x="161734" y="128207"/>
                    </a:cubicBezTo>
                    <a:lnTo>
                      <a:pt x="161354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4" name="Forme libre : forme 13">
                <a:extLst>
                  <a:ext uri="{FF2B5EF4-FFF2-40B4-BE49-F238E27FC236}">
                    <a16:creationId xmlns:a16="http://schemas.microsoft.com/office/drawing/2014/main" id="{8832F791-ADC8-C4AE-99BE-AFFB835CE23D}"/>
                  </a:ext>
                </a:extLst>
              </p:cNvPr>
              <p:cNvSpPr/>
              <p:nvPr/>
            </p:nvSpPr>
            <p:spPr>
              <a:xfrm>
                <a:off x="2808345" y="853507"/>
                <a:ext cx="239172" cy="244792"/>
              </a:xfrm>
              <a:custGeom>
                <a:avLst/>
                <a:gdLst>
                  <a:gd name="connsiteX0" fmla="*/ 0 w 239172"/>
                  <a:gd name="connsiteY0" fmla="*/ 244792 h 244792"/>
                  <a:gd name="connsiteX1" fmla="*/ 102965 w 239172"/>
                  <a:gd name="connsiteY1" fmla="*/ 0 h 244792"/>
                  <a:gd name="connsiteX2" fmla="*/ 140303 w 239172"/>
                  <a:gd name="connsiteY2" fmla="*/ 0 h 244792"/>
                  <a:gd name="connsiteX3" fmla="*/ 239173 w 239172"/>
                  <a:gd name="connsiteY3" fmla="*/ 244792 h 244792"/>
                  <a:gd name="connsiteX4" fmla="*/ 194310 w 239172"/>
                  <a:gd name="connsiteY4" fmla="*/ 244792 h 244792"/>
                  <a:gd name="connsiteX5" fmla="*/ 172593 w 239172"/>
                  <a:gd name="connsiteY5" fmla="*/ 188976 h 244792"/>
                  <a:gd name="connsiteX6" fmla="*/ 67247 w 239172"/>
                  <a:gd name="connsiteY6" fmla="*/ 188976 h 244792"/>
                  <a:gd name="connsiteX7" fmla="*/ 44863 w 239172"/>
                  <a:gd name="connsiteY7" fmla="*/ 244792 h 244792"/>
                  <a:gd name="connsiteX8" fmla="*/ 0 w 239172"/>
                  <a:gd name="connsiteY8" fmla="*/ 244792 h 244792"/>
                  <a:gd name="connsiteX9" fmla="*/ 82582 w 239172"/>
                  <a:gd name="connsiteY9" fmla="*/ 151352 h 244792"/>
                  <a:gd name="connsiteX10" fmla="*/ 158306 w 239172"/>
                  <a:gd name="connsiteY10" fmla="*/ 151352 h 244792"/>
                  <a:gd name="connsiteX11" fmla="*/ 120968 w 239172"/>
                  <a:gd name="connsiteY11" fmla="*/ 55150 h 244792"/>
                  <a:gd name="connsiteX12" fmla="*/ 82582 w 239172"/>
                  <a:gd name="connsiteY12" fmla="*/ 151352 h 244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9172" h="244792">
                    <a:moveTo>
                      <a:pt x="0" y="244792"/>
                    </a:moveTo>
                    <a:lnTo>
                      <a:pt x="102965" y="0"/>
                    </a:lnTo>
                    <a:lnTo>
                      <a:pt x="140303" y="0"/>
                    </a:lnTo>
                    <a:lnTo>
                      <a:pt x="239173" y="244792"/>
                    </a:lnTo>
                    <a:lnTo>
                      <a:pt x="194310" y="244792"/>
                    </a:lnTo>
                    <a:lnTo>
                      <a:pt x="172593" y="188976"/>
                    </a:lnTo>
                    <a:lnTo>
                      <a:pt x="67247" y="188976"/>
                    </a:lnTo>
                    <a:lnTo>
                      <a:pt x="44863" y="244792"/>
                    </a:lnTo>
                    <a:lnTo>
                      <a:pt x="0" y="244792"/>
                    </a:lnTo>
                    <a:close/>
                    <a:moveTo>
                      <a:pt x="82582" y="151352"/>
                    </a:moveTo>
                    <a:lnTo>
                      <a:pt x="158306" y="151352"/>
                    </a:lnTo>
                    <a:lnTo>
                      <a:pt x="120968" y="55150"/>
                    </a:lnTo>
                    <a:lnTo>
                      <a:pt x="82582" y="15135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EDC2B7B-390B-1178-C67A-4906FE551968}"/>
                  </a:ext>
                </a:extLst>
              </p:cNvPr>
              <p:cNvSpPr/>
              <p:nvPr/>
            </p:nvSpPr>
            <p:spPr>
              <a:xfrm>
                <a:off x="3091905" y="850173"/>
                <a:ext cx="214407" cy="251364"/>
              </a:xfrm>
              <a:custGeom>
                <a:avLst/>
                <a:gdLst>
                  <a:gd name="connsiteX0" fmla="*/ 214027 w 214407"/>
                  <a:gd name="connsiteY0" fmla="*/ 200597 h 251364"/>
                  <a:gd name="connsiteX1" fmla="*/ 174593 w 214407"/>
                  <a:gd name="connsiteY1" fmla="*/ 238220 h 251364"/>
                  <a:gd name="connsiteX2" fmla="*/ 118205 w 214407"/>
                  <a:gd name="connsiteY2" fmla="*/ 251365 h 251364"/>
                  <a:gd name="connsiteX3" fmla="*/ 54674 w 214407"/>
                  <a:gd name="connsiteY3" fmla="*/ 236887 h 251364"/>
                  <a:gd name="connsiteX4" fmla="*/ 14097 w 214407"/>
                  <a:gd name="connsiteY4" fmla="*/ 195358 h 251364"/>
                  <a:gd name="connsiteX5" fmla="*/ 0 w 214407"/>
                  <a:gd name="connsiteY5" fmla="*/ 130683 h 251364"/>
                  <a:gd name="connsiteX6" fmla="*/ 15621 w 214407"/>
                  <a:gd name="connsiteY6" fmla="*/ 62389 h 251364"/>
                  <a:gd name="connsiteX7" fmla="*/ 59055 w 214407"/>
                  <a:gd name="connsiteY7" fmla="*/ 16573 h 251364"/>
                  <a:gd name="connsiteX8" fmla="*/ 123634 w 214407"/>
                  <a:gd name="connsiteY8" fmla="*/ 0 h 251364"/>
                  <a:gd name="connsiteX9" fmla="*/ 177165 w 214407"/>
                  <a:gd name="connsiteY9" fmla="*/ 12097 h 251364"/>
                  <a:gd name="connsiteX10" fmla="*/ 214408 w 214407"/>
                  <a:gd name="connsiteY10" fmla="*/ 48673 h 251364"/>
                  <a:gd name="connsiteX11" fmla="*/ 180404 w 214407"/>
                  <a:gd name="connsiteY11" fmla="*/ 73533 h 251364"/>
                  <a:gd name="connsiteX12" fmla="*/ 156305 w 214407"/>
                  <a:gd name="connsiteY12" fmla="*/ 48387 h 251364"/>
                  <a:gd name="connsiteX13" fmla="*/ 123349 w 214407"/>
                  <a:gd name="connsiteY13" fmla="*/ 40481 h 251364"/>
                  <a:gd name="connsiteX14" fmla="*/ 82582 w 214407"/>
                  <a:gd name="connsiteY14" fmla="*/ 51816 h 251364"/>
                  <a:gd name="connsiteX15" fmla="*/ 54864 w 214407"/>
                  <a:gd name="connsiteY15" fmla="*/ 83344 h 251364"/>
                  <a:gd name="connsiteX16" fmla="*/ 44863 w 214407"/>
                  <a:gd name="connsiteY16" fmla="*/ 130016 h 251364"/>
                  <a:gd name="connsiteX17" fmla="*/ 64389 w 214407"/>
                  <a:gd name="connsiteY17" fmla="*/ 189643 h 251364"/>
                  <a:gd name="connsiteX18" fmla="*/ 118872 w 214407"/>
                  <a:gd name="connsiteY18" fmla="*/ 210979 h 251364"/>
                  <a:gd name="connsiteX19" fmla="*/ 154496 w 214407"/>
                  <a:gd name="connsiteY19" fmla="*/ 202025 h 251364"/>
                  <a:gd name="connsiteX20" fmla="*/ 180975 w 214407"/>
                  <a:gd name="connsiteY20" fmla="*/ 174784 h 251364"/>
                  <a:gd name="connsiteX21" fmla="*/ 213931 w 214407"/>
                  <a:gd name="connsiteY21" fmla="*/ 200597 h 251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14407" h="251364">
                    <a:moveTo>
                      <a:pt x="214027" y="200597"/>
                    </a:moveTo>
                    <a:cubicBezTo>
                      <a:pt x="204502" y="216884"/>
                      <a:pt x="191357" y="229457"/>
                      <a:pt x="174593" y="238220"/>
                    </a:cubicBezTo>
                    <a:cubicBezTo>
                      <a:pt x="157829" y="246983"/>
                      <a:pt x="139065" y="251365"/>
                      <a:pt x="118205" y="251365"/>
                    </a:cubicBezTo>
                    <a:cubicBezTo>
                      <a:pt x="93536" y="251365"/>
                      <a:pt x="72295" y="246507"/>
                      <a:pt x="54674" y="236887"/>
                    </a:cubicBezTo>
                    <a:cubicBezTo>
                      <a:pt x="37052" y="227267"/>
                      <a:pt x="23432" y="213360"/>
                      <a:pt x="14097" y="195358"/>
                    </a:cubicBezTo>
                    <a:cubicBezTo>
                      <a:pt x="4667" y="177355"/>
                      <a:pt x="0" y="155734"/>
                      <a:pt x="0" y="130683"/>
                    </a:cubicBezTo>
                    <a:cubicBezTo>
                      <a:pt x="0" y="105632"/>
                      <a:pt x="5239" y="81915"/>
                      <a:pt x="15621" y="62389"/>
                    </a:cubicBezTo>
                    <a:cubicBezTo>
                      <a:pt x="26003" y="42863"/>
                      <a:pt x="40577" y="27527"/>
                      <a:pt x="59055" y="16573"/>
                    </a:cubicBezTo>
                    <a:cubicBezTo>
                      <a:pt x="77629" y="5524"/>
                      <a:pt x="99155" y="0"/>
                      <a:pt x="123634" y="0"/>
                    </a:cubicBezTo>
                    <a:cubicBezTo>
                      <a:pt x="144494" y="0"/>
                      <a:pt x="162306" y="4001"/>
                      <a:pt x="177165" y="12097"/>
                    </a:cubicBezTo>
                    <a:cubicBezTo>
                      <a:pt x="192024" y="20098"/>
                      <a:pt x="204407" y="32290"/>
                      <a:pt x="214408" y="48673"/>
                    </a:cubicBezTo>
                    <a:lnTo>
                      <a:pt x="180404" y="73533"/>
                    </a:lnTo>
                    <a:cubicBezTo>
                      <a:pt x="174308" y="62008"/>
                      <a:pt x="166211" y="53626"/>
                      <a:pt x="156305" y="48387"/>
                    </a:cubicBezTo>
                    <a:cubicBezTo>
                      <a:pt x="146304" y="43053"/>
                      <a:pt x="135350" y="40481"/>
                      <a:pt x="123349" y="40481"/>
                    </a:cubicBezTo>
                    <a:cubicBezTo>
                      <a:pt x="107918" y="40481"/>
                      <a:pt x="94393" y="44291"/>
                      <a:pt x="82582" y="51816"/>
                    </a:cubicBezTo>
                    <a:cubicBezTo>
                      <a:pt x="70771" y="59436"/>
                      <a:pt x="61532" y="69914"/>
                      <a:pt x="54864" y="83344"/>
                    </a:cubicBezTo>
                    <a:cubicBezTo>
                      <a:pt x="48196" y="96774"/>
                      <a:pt x="44863" y="112395"/>
                      <a:pt x="44863" y="130016"/>
                    </a:cubicBezTo>
                    <a:cubicBezTo>
                      <a:pt x="44863" y="155543"/>
                      <a:pt x="51340" y="175450"/>
                      <a:pt x="64389" y="189643"/>
                    </a:cubicBezTo>
                    <a:cubicBezTo>
                      <a:pt x="77438" y="203930"/>
                      <a:pt x="95631" y="210979"/>
                      <a:pt x="118872" y="210979"/>
                    </a:cubicBezTo>
                    <a:cubicBezTo>
                      <a:pt x="131826" y="210979"/>
                      <a:pt x="143637" y="208026"/>
                      <a:pt x="154496" y="202025"/>
                    </a:cubicBezTo>
                    <a:cubicBezTo>
                      <a:pt x="165354" y="196025"/>
                      <a:pt x="174212" y="186976"/>
                      <a:pt x="180975" y="174784"/>
                    </a:cubicBezTo>
                    <a:lnTo>
                      <a:pt x="213931" y="200597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0553B4D8-CDEA-DA2E-3A34-81D7F6A63CAC}"/>
                  </a:ext>
                </a:extLst>
              </p:cNvPr>
              <p:cNvSpPr/>
              <p:nvPr/>
            </p:nvSpPr>
            <p:spPr>
              <a:xfrm>
                <a:off x="2238846" y="850078"/>
                <a:ext cx="254126" cy="254317"/>
              </a:xfrm>
              <a:custGeom>
                <a:avLst/>
                <a:gdLst>
                  <a:gd name="connsiteX0" fmla="*/ 200216 w 254126"/>
                  <a:gd name="connsiteY0" fmla="*/ 213074 h 254317"/>
                  <a:gd name="connsiteX1" fmla="*/ 230696 w 254126"/>
                  <a:gd name="connsiteY1" fmla="*/ 127159 h 254317"/>
                  <a:gd name="connsiteX2" fmla="*/ 115348 w 254126"/>
                  <a:gd name="connsiteY2" fmla="*/ 0 h 254317"/>
                  <a:gd name="connsiteX3" fmla="*/ 0 w 254126"/>
                  <a:gd name="connsiteY3" fmla="*/ 127159 h 254317"/>
                  <a:gd name="connsiteX4" fmla="*/ 96869 w 254126"/>
                  <a:gd name="connsiteY4" fmla="*/ 252508 h 254317"/>
                  <a:gd name="connsiteX5" fmla="*/ 96869 w 254126"/>
                  <a:gd name="connsiteY5" fmla="*/ 206788 h 254317"/>
                  <a:gd name="connsiteX6" fmla="*/ 40672 w 254126"/>
                  <a:gd name="connsiteY6" fmla="*/ 127159 h 254317"/>
                  <a:gd name="connsiteX7" fmla="*/ 115348 w 254126"/>
                  <a:gd name="connsiteY7" fmla="*/ 44863 h 254317"/>
                  <a:gd name="connsiteX8" fmla="*/ 190024 w 254126"/>
                  <a:gd name="connsiteY8" fmla="*/ 127159 h 254317"/>
                  <a:gd name="connsiteX9" fmla="*/ 137446 w 254126"/>
                  <a:gd name="connsiteY9" fmla="*/ 205835 h 254317"/>
                  <a:gd name="connsiteX10" fmla="*/ 137446 w 254126"/>
                  <a:gd name="connsiteY10" fmla="*/ 254317 h 254317"/>
                  <a:gd name="connsiteX11" fmla="*/ 254127 w 254126"/>
                  <a:gd name="connsiteY11" fmla="*/ 254317 h 254317"/>
                  <a:gd name="connsiteX12" fmla="*/ 254127 w 254126"/>
                  <a:gd name="connsiteY12" fmla="*/ 213074 h 254317"/>
                  <a:gd name="connsiteX13" fmla="*/ 200216 w 254126"/>
                  <a:gd name="connsiteY13" fmla="*/ 213074 h 254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4126" h="254317">
                    <a:moveTo>
                      <a:pt x="200216" y="213074"/>
                    </a:moveTo>
                    <a:cubicBezTo>
                      <a:pt x="219075" y="190405"/>
                      <a:pt x="230696" y="160306"/>
                      <a:pt x="230696" y="127159"/>
                    </a:cubicBezTo>
                    <a:cubicBezTo>
                      <a:pt x="230696" y="56959"/>
                      <a:pt x="179070" y="0"/>
                      <a:pt x="115348" y="0"/>
                    </a:cubicBezTo>
                    <a:cubicBezTo>
                      <a:pt x="51625" y="0"/>
                      <a:pt x="0" y="56959"/>
                      <a:pt x="0" y="127159"/>
                    </a:cubicBezTo>
                    <a:cubicBezTo>
                      <a:pt x="0" y="190405"/>
                      <a:pt x="42005" y="242697"/>
                      <a:pt x="96869" y="252508"/>
                    </a:cubicBezTo>
                    <a:lnTo>
                      <a:pt x="96869" y="206788"/>
                    </a:lnTo>
                    <a:cubicBezTo>
                      <a:pt x="64579" y="197739"/>
                      <a:pt x="40672" y="165544"/>
                      <a:pt x="40672" y="127159"/>
                    </a:cubicBezTo>
                    <a:cubicBezTo>
                      <a:pt x="40672" y="81725"/>
                      <a:pt x="74104" y="44863"/>
                      <a:pt x="115348" y="44863"/>
                    </a:cubicBezTo>
                    <a:cubicBezTo>
                      <a:pt x="156591" y="44863"/>
                      <a:pt x="190024" y="81725"/>
                      <a:pt x="190024" y="127159"/>
                    </a:cubicBezTo>
                    <a:cubicBezTo>
                      <a:pt x="190024" y="164116"/>
                      <a:pt x="167926" y="195453"/>
                      <a:pt x="137446" y="205835"/>
                    </a:cubicBezTo>
                    <a:lnTo>
                      <a:pt x="137446" y="254317"/>
                    </a:lnTo>
                    <a:lnTo>
                      <a:pt x="254127" y="254317"/>
                    </a:lnTo>
                    <a:lnTo>
                      <a:pt x="254127" y="213074"/>
                    </a:lnTo>
                    <a:lnTo>
                      <a:pt x="200216" y="213074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BE714510-6BFB-7080-0BFB-B5D9A3A19089}"/>
                  </a:ext>
                </a:extLst>
              </p:cNvPr>
              <p:cNvSpPr/>
              <p:nvPr/>
            </p:nvSpPr>
            <p:spPr>
              <a:xfrm>
                <a:off x="3462904" y="853602"/>
                <a:ext cx="85248" cy="101536"/>
              </a:xfrm>
              <a:custGeom>
                <a:avLst/>
                <a:gdLst>
                  <a:gd name="connsiteX0" fmla="*/ 85249 w 85248"/>
                  <a:gd name="connsiteY0" fmla="*/ 0 h 101536"/>
                  <a:gd name="connsiteX1" fmla="*/ 39052 w 85248"/>
                  <a:gd name="connsiteY1" fmla="*/ 0 h 101536"/>
                  <a:gd name="connsiteX2" fmla="*/ 0 w 85248"/>
                  <a:gd name="connsiteY2" fmla="*/ 59531 h 101536"/>
                  <a:gd name="connsiteX3" fmla="*/ 25622 w 85248"/>
                  <a:gd name="connsiteY3" fmla="*/ 101537 h 101536"/>
                  <a:gd name="connsiteX4" fmla="*/ 85249 w 85248"/>
                  <a:gd name="connsiteY4" fmla="*/ 0 h 101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248" h="101536">
                    <a:moveTo>
                      <a:pt x="85249" y="0"/>
                    </a:moveTo>
                    <a:lnTo>
                      <a:pt x="39052" y="0"/>
                    </a:lnTo>
                    <a:lnTo>
                      <a:pt x="0" y="59531"/>
                    </a:lnTo>
                    <a:lnTo>
                      <a:pt x="25622" y="101537"/>
                    </a:lnTo>
                    <a:lnTo>
                      <a:pt x="85249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0480AEC5-0FF6-FEBE-E3E2-42FFCB636138}"/>
                  </a:ext>
                </a:extLst>
              </p:cNvPr>
              <p:cNvSpPr/>
              <p:nvPr/>
            </p:nvSpPr>
            <p:spPr>
              <a:xfrm>
                <a:off x="3332792" y="853602"/>
                <a:ext cx="131159" cy="244697"/>
              </a:xfrm>
              <a:custGeom>
                <a:avLst/>
                <a:gdLst>
                  <a:gd name="connsiteX0" fmla="*/ 49911 w 131159"/>
                  <a:gd name="connsiteY0" fmla="*/ 0 h 244697"/>
                  <a:gd name="connsiteX1" fmla="*/ 0 w 131159"/>
                  <a:gd name="connsiteY1" fmla="*/ 0 h 244697"/>
                  <a:gd name="connsiteX2" fmla="*/ 86678 w 131159"/>
                  <a:gd name="connsiteY2" fmla="*/ 136112 h 244697"/>
                  <a:gd name="connsiteX3" fmla="*/ 86678 w 131159"/>
                  <a:gd name="connsiteY3" fmla="*/ 244697 h 244697"/>
                  <a:gd name="connsiteX4" fmla="*/ 131159 w 131159"/>
                  <a:gd name="connsiteY4" fmla="*/ 244697 h 244697"/>
                  <a:gd name="connsiteX5" fmla="*/ 131159 w 131159"/>
                  <a:gd name="connsiteY5" fmla="*/ 135446 h 244697"/>
                  <a:gd name="connsiteX6" fmla="*/ 116681 w 131159"/>
                  <a:gd name="connsiteY6" fmla="*/ 111062 h 244697"/>
                  <a:gd name="connsiteX7" fmla="*/ 49911 w 131159"/>
                  <a:gd name="connsiteY7" fmla="*/ 0 h 24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1159" h="244697">
                    <a:moveTo>
                      <a:pt x="49911" y="0"/>
                    </a:moveTo>
                    <a:lnTo>
                      <a:pt x="0" y="0"/>
                    </a:lnTo>
                    <a:lnTo>
                      <a:pt x="86678" y="136112"/>
                    </a:lnTo>
                    <a:lnTo>
                      <a:pt x="86678" y="244697"/>
                    </a:lnTo>
                    <a:lnTo>
                      <a:pt x="131159" y="244697"/>
                    </a:lnTo>
                    <a:lnTo>
                      <a:pt x="131159" y="135446"/>
                    </a:lnTo>
                    <a:lnTo>
                      <a:pt x="116681" y="111062"/>
                    </a:lnTo>
                    <a:lnTo>
                      <a:pt x="49911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9" name="Forme libre : forme 18">
                <a:extLst>
                  <a:ext uri="{FF2B5EF4-FFF2-40B4-BE49-F238E27FC236}">
                    <a16:creationId xmlns:a16="http://schemas.microsoft.com/office/drawing/2014/main" id="{CAD1F870-6C49-F55C-4596-5803D110EE06}"/>
                  </a:ext>
                </a:extLst>
              </p:cNvPr>
              <p:cNvSpPr/>
              <p:nvPr/>
            </p:nvSpPr>
            <p:spPr>
              <a:xfrm>
                <a:off x="3449473" y="964664"/>
                <a:ext cx="14477" cy="24383"/>
              </a:xfrm>
              <a:custGeom>
                <a:avLst/>
                <a:gdLst>
                  <a:gd name="connsiteX0" fmla="*/ 0 w 14477"/>
                  <a:gd name="connsiteY0" fmla="*/ 0 h 24383"/>
                  <a:gd name="connsiteX1" fmla="*/ 14478 w 14477"/>
                  <a:gd name="connsiteY1" fmla="*/ 24384 h 24383"/>
                  <a:gd name="connsiteX2" fmla="*/ 14478 w 14477"/>
                  <a:gd name="connsiteY2" fmla="*/ 24003 h 24383"/>
                  <a:gd name="connsiteX3" fmla="*/ 0 w 14477"/>
                  <a:gd name="connsiteY3" fmla="*/ 0 h 24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77" h="24383">
                    <a:moveTo>
                      <a:pt x="0" y="0"/>
                    </a:moveTo>
                    <a:lnTo>
                      <a:pt x="14478" y="24384"/>
                    </a:lnTo>
                    <a:lnTo>
                      <a:pt x="14478" y="2400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0" name="Forme libre : forme 19">
                <a:extLst>
                  <a:ext uri="{FF2B5EF4-FFF2-40B4-BE49-F238E27FC236}">
                    <a16:creationId xmlns:a16="http://schemas.microsoft.com/office/drawing/2014/main" id="{AF4D5F9E-FF03-26D1-3E77-ECBF25A13067}"/>
                  </a:ext>
                </a:extLst>
              </p:cNvPr>
              <p:cNvSpPr/>
              <p:nvPr/>
            </p:nvSpPr>
            <p:spPr>
              <a:xfrm>
                <a:off x="1429221" y="853602"/>
                <a:ext cx="239077" cy="244697"/>
              </a:xfrm>
              <a:custGeom>
                <a:avLst/>
                <a:gdLst>
                  <a:gd name="connsiteX0" fmla="*/ 140303 w 239077"/>
                  <a:gd name="connsiteY0" fmla="*/ 0 h 244697"/>
                  <a:gd name="connsiteX1" fmla="*/ 102870 w 239077"/>
                  <a:gd name="connsiteY1" fmla="*/ 0 h 244697"/>
                  <a:gd name="connsiteX2" fmla="*/ 0 w 239077"/>
                  <a:gd name="connsiteY2" fmla="*/ 244697 h 244697"/>
                  <a:gd name="connsiteX3" fmla="*/ 44768 w 239077"/>
                  <a:gd name="connsiteY3" fmla="*/ 244697 h 244697"/>
                  <a:gd name="connsiteX4" fmla="*/ 120872 w 239077"/>
                  <a:gd name="connsiteY4" fmla="*/ 55150 h 244697"/>
                  <a:gd name="connsiteX5" fmla="*/ 158306 w 239077"/>
                  <a:gd name="connsiteY5" fmla="*/ 151352 h 244697"/>
                  <a:gd name="connsiteX6" fmla="*/ 123158 w 239077"/>
                  <a:gd name="connsiteY6" fmla="*/ 150971 h 244697"/>
                  <a:gd name="connsiteX7" fmla="*/ 107347 w 239077"/>
                  <a:gd name="connsiteY7" fmla="*/ 189262 h 244697"/>
                  <a:gd name="connsiteX8" fmla="*/ 172498 w 239077"/>
                  <a:gd name="connsiteY8" fmla="*/ 188881 h 244697"/>
                  <a:gd name="connsiteX9" fmla="*/ 194310 w 239077"/>
                  <a:gd name="connsiteY9" fmla="*/ 244697 h 244697"/>
                  <a:gd name="connsiteX10" fmla="*/ 239077 w 239077"/>
                  <a:gd name="connsiteY10" fmla="*/ 244697 h 244697"/>
                  <a:gd name="connsiteX11" fmla="*/ 140303 w 239077"/>
                  <a:gd name="connsiteY11" fmla="*/ 0 h 24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9077" h="244697">
                    <a:moveTo>
                      <a:pt x="140303" y="0"/>
                    </a:moveTo>
                    <a:lnTo>
                      <a:pt x="102870" y="0"/>
                    </a:lnTo>
                    <a:lnTo>
                      <a:pt x="0" y="244697"/>
                    </a:lnTo>
                    <a:lnTo>
                      <a:pt x="44768" y="244697"/>
                    </a:lnTo>
                    <a:lnTo>
                      <a:pt x="120872" y="55150"/>
                    </a:lnTo>
                    <a:lnTo>
                      <a:pt x="158306" y="151352"/>
                    </a:lnTo>
                    <a:lnTo>
                      <a:pt x="123158" y="150971"/>
                    </a:lnTo>
                    <a:lnTo>
                      <a:pt x="107347" y="189262"/>
                    </a:lnTo>
                    <a:lnTo>
                      <a:pt x="172498" y="188881"/>
                    </a:lnTo>
                    <a:lnTo>
                      <a:pt x="194310" y="244697"/>
                    </a:lnTo>
                    <a:lnTo>
                      <a:pt x="239077" y="244697"/>
                    </a:lnTo>
                    <a:lnTo>
                      <a:pt x="14030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21" name="Graphique 7">
              <a:extLst>
                <a:ext uri="{FF2B5EF4-FFF2-40B4-BE49-F238E27FC236}">
                  <a16:creationId xmlns:a16="http://schemas.microsoft.com/office/drawing/2014/main" id="{D4224BB4-A4CA-F5C9-45FD-CA9BD9476AEE}"/>
                </a:ext>
              </a:extLst>
            </p:cNvPr>
            <p:cNvGrpSpPr/>
            <p:nvPr/>
          </p:nvGrpSpPr>
          <p:grpSpPr>
            <a:xfrm>
              <a:off x="888105" y="743588"/>
              <a:ext cx="419481" cy="496633"/>
              <a:chOff x="888105" y="743588"/>
              <a:chExt cx="419481" cy="496633"/>
            </a:xfrm>
          </p:grpSpPr>
          <p:sp>
            <p:nvSpPr>
              <p:cNvPr id="22" name="Forme libre : forme 21">
                <a:extLst>
                  <a:ext uri="{FF2B5EF4-FFF2-40B4-BE49-F238E27FC236}">
                    <a16:creationId xmlns:a16="http://schemas.microsoft.com/office/drawing/2014/main" id="{3B015733-BCAE-2E70-A974-4A2CE9B3129B}"/>
                  </a:ext>
                </a:extLst>
              </p:cNvPr>
              <p:cNvSpPr/>
              <p:nvPr/>
            </p:nvSpPr>
            <p:spPr>
              <a:xfrm>
                <a:off x="968020" y="841696"/>
                <a:ext cx="259842" cy="261747"/>
              </a:xfrm>
              <a:custGeom>
                <a:avLst/>
                <a:gdLst>
                  <a:gd name="connsiteX0" fmla="*/ 152400 w 259842"/>
                  <a:gd name="connsiteY0" fmla="*/ 0 h 261747"/>
                  <a:gd name="connsiteX1" fmla="*/ 111824 w 259842"/>
                  <a:gd name="connsiteY1" fmla="*/ 0 h 261747"/>
                  <a:gd name="connsiteX2" fmla="*/ 0 w 259842"/>
                  <a:gd name="connsiteY2" fmla="*/ 261747 h 261747"/>
                  <a:gd name="connsiteX3" fmla="*/ 48768 w 259842"/>
                  <a:gd name="connsiteY3" fmla="*/ 261747 h 261747"/>
                  <a:gd name="connsiteX4" fmla="*/ 131350 w 259842"/>
                  <a:gd name="connsiteY4" fmla="*/ 58960 h 261747"/>
                  <a:gd name="connsiteX5" fmla="*/ 172022 w 259842"/>
                  <a:gd name="connsiteY5" fmla="*/ 161830 h 261747"/>
                  <a:gd name="connsiteX6" fmla="*/ 133445 w 259842"/>
                  <a:gd name="connsiteY6" fmla="*/ 161830 h 261747"/>
                  <a:gd name="connsiteX7" fmla="*/ 116777 w 259842"/>
                  <a:gd name="connsiteY7" fmla="*/ 202597 h 261747"/>
                  <a:gd name="connsiteX8" fmla="*/ 187452 w 259842"/>
                  <a:gd name="connsiteY8" fmla="*/ 202025 h 261747"/>
                  <a:gd name="connsiteX9" fmla="*/ 211074 w 259842"/>
                  <a:gd name="connsiteY9" fmla="*/ 261747 h 261747"/>
                  <a:gd name="connsiteX10" fmla="*/ 259842 w 259842"/>
                  <a:gd name="connsiteY10" fmla="*/ 261747 h 261747"/>
                  <a:gd name="connsiteX11" fmla="*/ 152400 w 259842"/>
                  <a:gd name="connsiteY11" fmla="*/ 0 h 261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9842" h="261747">
                    <a:moveTo>
                      <a:pt x="152400" y="0"/>
                    </a:moveTo>
                    <a:lnTo>
                      <a:pt x="111824" y="0"/>
                    </a:lnTo>
                    <a:lnTo>
                      <a:pt x="0" y="261747"/>
                    </a:lnTo>
                    <a:lnTo>
                      <a:pt x="48768" y="261747"/>
                    </a:lnTo>
                    <a:lnTo>
                      <a:pt x="131350" y="58960"/>
                    </a:lnTo>
                    <a:lnTo>
                      <a:pt x="172022" y="161830"/>
                    </a:lnTo>
                    <a:lnTo>
                      <a:pt x="133445" y="161830"/>
                    </a:lnTo>
                    <a:lnTo>
                      <a:pt x="116777" y="202597"/>
                    </a:lnTo>
                    <a:lnTo>
                      <a:pt x="187452" y="202025"/>
                    </a:lnTo>
                    <a:lnTo>
                      <a:pt x="211074" y="261747"/>
                    </a:lnTo>
                    <a:lnTo>
                      <a:pt x="259842" y="261747"/>
                    </a:lnTo>
                    <a:lnTo>
                      <a:pt x="152400" y="0"/>
                    </a:lnTo>
                    <a:close/>
                  </a:path>
                </a:pathLst>
              </a:custGeom>
              <a:solidFill>
                <a:srgbClr val="55FDB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A38328E9-3520-6326-1050-70118777BA31}"/>
                  </a:ext>
                </a:extLst>
              </p:cNvPr>
              <p:cNvSpPr/>
              <p:nvPr/>
            </p:nvSpPr>
            <p:spPr>
              <a:xfrm>
                <a:off x="888105" y="743588"/>
                <a:ext cx="419481" cy="496633"/>
              </a:xfrm>
              <a:custGeom>
                <a:avLst/>
                <a:gdLst>
                  <a:gd name="connsiteX0" fmla="*/ 268891 w 419481"/>
                  <a:gd name="connsiteY0" fmla="*/ 496538 h 496633"/>
                  <a:gd name="connsiteX1" fmla="*/ 159639 w 419481"/>
                  <a:gd name="connsiteY1" fmla="*/ 496538 h 496633"/>
                  <a:gd name="connsiteX2" fmla="*/ 0 w 419481"/>
                  <a:gd name="connsiteY2" fmla="*/ 332041 h 496633"/>
                  <a:gd name="connsiteX3" fmla="*/ 0 w 419481"/>
                  <a:gd name="connsiteY3" fmla="*/ 100394 h 496633"/>
                  <a:gd name="connsiteX4" fmla="*/ 97631 w 419481"/>
                  <a:gd name="connsiteY4" fmla="*/ 0 h 496633"/>
                  <a:gd name="connsiteX5" fmla="*/ 321755 w 419481"/>
                  <a:gd name="connsiteY5" fmla="*/ 0 h 496633"/>
                  <a:gd name="connsiteX6" fmla="*/ 419481 w 419481"/>
                  <a:gd name="connsiteY6" fmla="*/ 100489 h 496633"/>
                  <a:gd name="connsiteX7" fmla="*/ 419481 w 419481"/>
                  <a:gd name="connsiteY7" fmla="*/ 332137 h 496633"/>
                  <a:gd name="connsiteX8" fmla="*/ 269081 w 419481"/>
                  <a:gd name="connsiteY8" fmla="*/ 496634 h 496633"/>
                  <a:gd name="connsiteX9" fmla="*/ 268891 w 419481"/>
                  <a:gd name="connsiteY9" fmla="*/ 496634 h 496633"/>
                  <a:gd name="connsiteX10" fmla="*/ 97631 w 419481"/>
                  <a:gd name="connsiteY10" fmla="*/ 18288 h 496633"/>
                  <a:gd name="connsiteX11" fmla="*/ 18669 w 419481"/>
                  <a:gd name="connsiteY11" fmla="*/ 100394 h 496633"/>
                  <a:gd name="connsiteX12" fmla="*/ 18669 w 419481"/>
                  <a:gd name="connsiteY12" fmla="*/ 332041 h 496633"/>
                  <a:gd name="connsiteX13" fmla="*/ 159830 w 419481"/>
                  <a:gd name="connsiteY13" fmla="*/ 478250 h 496633"/>
                  <a:gd name="connsiteX14" fmla="*/ 268415 w 419481"/>
                  <a:gd name="connsiteY14" fmla="*/ 478250 h 496633"/>
                  <a:gd name="connsiteX15" fmla="*/ 400717 w 419481"/>
                  <a:gd name="connsiteY15" fmla="*/ 332041 h 496633"/>
                  <a:gd name="connsiteX16" fmla="*/ 400717 w 419481"/>
                  <a:gd name="connsiteY16" fmla="*/ 100394 h 496633"/>
                  <a:gd name="connsiteX17" fmla="*/ 321755 w 419481"/>
                  <a:gd name="connsiteY17" fmla="*/ 18288 h 496633"/>
                  <a:gd name="connsiteX18" fmla="*/ 97631 w 419481"/>
                  <a:gd name="connsiteY18" fmla="*/ 18288 h 496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19481" h="496633">
                    <a:moveTo>
                      <a:pt x="268891" y="496538"/>
                    </a:moveTo>
                    <a:lnTo>
                      <a:pt x="159639" y="496538"/>
                    </a:lnTo>
                    <a:cubicBezTo>
                      <a:pt x="53245" y="494157"/>
                      <a:pt x="0" y="389763"/>
                      <a:pt x="0" y="332041"/>
                    </a:cubicBezTo>
                    <a:lnTo>
                      <a:pt x="0" y="100394"/>
                    </a:lnTo>
                    <a:cubicBezTo>
                      <a:pt x="-95" y="45053"/>
                      <a:pt x="43720" y="0"/>
                      <a:pt x="97631" y="0"/>
                    </a:cubicBezTo>
                    <a:lnTo>
                      <a:pt x="321755" y="0"/>
                    </a:lnTo>
                    <a:cubicBezTo>
                      <a:pt x="375666" y="0"/>
                      <a:pt x="419481" y="45053"/>
                      <a:pt x="419481" y="100489"/>
                    </a:cubicBezTo>
                    <a:lnTo>
                      <a:pt x="419481" y="332137"/>
                    </a:lnTo>
                    <a:cubicBezTo>
                      <a:pt x="419481" y="387096"/>
                      <a:pt x="367856" y="492062"/>
                      <a:pt x="269081" y="496634"/>
                    </a:cubicBezTo>
                    <a:lnTo>
                      <a:pt x="268891" y="496634"/>
                    </a:lnTo>
                    <a:close/>
                    <a:moveTo>
                      <a:pt x="97631" y="18288"/>
                    </a:moveTo>
                    <a:cubicBezTo>
                      <a:pt x="54102" y="18288"/>
                      <a:pt x="18669" y="55150"/>
                      <a:pt x="18669" y="100394"/>
                    </a:cubicBezTo>
                    <a:lnTo>
                      <a:pt x="18669" y="332041"/>
                    </a:lnTo>
                    <a:cubicBezTo>
                      <a:pt x="18669" y="374142"/>
                      <a:pt x="59246" y="475964"/>
                      <a:pt x="159830" y="478250"/>
                    </a:cubicBezTo>
                    <a:lnTo>
                      <a:pt x="268415" y="478250"/>
                    </a:lnTo>
                    <a:cubicBezTo>
                      <a:pt x="354044" y="474155"/>
                      <a:pt x="400717" y="379571"/>
                      <a:pt x="400717" y="332041"/>
                    </a:cubicBezTo>
                    <a:lnTo>
                      <a:pt x="400717" y="100394"/>
                    </a:lnTo>
                    <a:cubicBezTo>
                      <a:pt x="400717" y="55055"/>
                      <a:pt x="365284" y="18288"/>
                      <a:pt x="321755" y="18288"/>
                    </a:cubicBezTo>
                    <a:lnTo>
                      <a:pt x="97631" y="18288"/>
                    </a:lnTo>
                    <a:close/>
                  </a:path>
                </a:pathLst>
              </a:custGeom>
              <a:gradFill>
                <a:gsLst>
                  <a:gs pos="0">
                    <a:srgbClr val="55FDB5"/>
                  </a:gs>
                  <a:gs pos="26000">
                    <a:srgbClr val="9BFED3"/>
                  </a:gs>
                  <a:gs pos="52000">
                    <a:srgbClr val="E1FFF2"/>
                  </a:gs>
                  <a:gs pos="100000">
                    <a:srgbClr val="55FDB5"/>
                  </a:gs>
                </a:gsLst>
                <a:lin ang="1881464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76D37488-0E78-8444-258B-10CA1F7854D3}"/>
                  </a:ext>
                </a:extLst>
              </p:cNvPr>
              <p:cNvSpPr/>
              <p:nvPr/>
            </p:nvSpPr>
            <p:spPr>
              <a:xfrm>
                <a:off x="1084797" y="841696"/>
                <a:ext cx="142970" cy="261747"/>
              </a:xfrm>
              <a:custGeom>
                <a:avLst/>
                <a:gdLst>
                  <a:gd name="connsiteX0" fmla="*/ 14573 w 142970"/>
                  <a:gd name="connsiteY0" fmla="*/ 58960 h 261747"/>
                  <a:gd name="connsiteX1" fmla="*/ 55150 w 142970"/>
                  <a:gd name="connsiteY1" fmla="*/ 161830 h 261747"/>
                  <a:gd name="connsiteX2" fmla="*/ 16573 w 142970"/>
                  <a:gd name="connsiteY2" fmla="*/ 161830 h 261747"/>
                  <a:gd name="connsiteX3" fmla="*/ 0 w 142970"/>
                  <a:gd name="connsiteY3" fmla="*/ 202597 h 261747"/>
                  <a:gd name="connsiteX4" fmla="*/ 70676 w 142970"/>
                  <a:gd name="connsiteY4" fmla="*/ 202025 h 261747"/>
                  <a:gd name="connsiteX5" fmla="*/ 94298 w 142970"/>
                  <a:gd name="connsiteY5" fmla="*/ 261747 h 261747"/>
                  <a:gd name="connsiteX6" fmla="*/ 142970 w 142970"/>
                  <a:gd name="connsiteY6" fmla="*/ 261747 h 261747"/>
                  <a:gd name="connsiteX7" fmla="*/ 35623 w 142970"/>
                  <a:gd name="connsiteY7" fmla="*/ 0 h 261747"/>
                  <a:gd name="connsiteX8" fmla="*/ 14573 w 142970"/>
                  <a:gd name="connsiteY8" fmla="*/ 0 h 261747"/>
                  <a:gd name="connsiteX9" fmla="*/ 14573 w 142970"/>
                  <a:gd name="connsiteY9" fmla="*/ 58960 h 261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2970" h="261747">
                    <a:moveTo>
                      <a:pt x="14573" y="58960"/>
                    </a:moveTo>
                    <a:lnTo>
                      <a:pt x="55150" y="161830"/>
                    </a:lnTo>
                    <a:lnTo>
                      <a:pt x="16573" y="161830"/>
                    </a:lnTo>
                    <a:lnTo>
                      <a:pt x="0" y="202597"/>
                    </a:lnTo>
                    <a:lnTo>
                      <a:pt x="70676" y="202025"/>
                    </a:lnTo>
                    <a:lnTo>
                      <a:pt x="94298" y="261747"/>
                    </a:lnTo>
                    <a:lnTo>
                      <a:pt x="142970" y="261747"/>
                    </a:lnTo>
                    <a:lnTo>
                      <a:pt x="35623" y="0"/>
                    </a:lnTo>
                    <a:lnTo>
                      <a:pt x="14573" y="0"/>
                    </a:lnTo>
                    <a:lnTo>
                      <a:pt x="14573" y="58960"/>
                    </a:lnTo>
                    <a:close/>
                  </a:path>
                </a:pathLst>
              </a:custGeom>
              <a:solidFill>
                <a:srgbClr val="B0FED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pic>
        <p:nvPicPr>
          <p:cNvPr id="9" name="Graphique 8">
            <a:extLst>
              <a:ext uri="{FF2B5EF4-FFF2-40B4-BE49-F238E27FC236}">
                <a16:creationId xmlns:a16="http://schemas.microsoft.com/office/drawing/2014/main" id="{9B70A6D8-77FF-6C5D-3485-C51193BC01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0B34C2B2-EEE9-86DB-BC6F-320AF2092549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4864" y="5852723"/>
            <a:ext cx="7074278" cy="360000"/>
          </a:xfrm>
        </p:spPr>
        <p:txBody>
          <a:bodyPr>
            <a:noAutofit/>
          </a:bodyPr>
          <a:lstStyle>
            <a:lvl1pPr>
              <a:defRPr sz="18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  <a:lvl2pPr marL="42863" indent="0">
              <a:buNone/>
              <a:defRPr/>
            </a:lvl2pPr>
          </a:lstStyle>
          <a:p>
            <a:pPr lvl="0"/>
            <a:r>
              <a:rPr lang="fr-FR" dirty="0"/>
              <a:t>Cliquez pour modifier les styles de la date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923E368B-AA2D-F03A-C858-D0503C12D2BC}"/>
              </a:ext>
            </a:extLst>
          </p:cNvPr>
          <p:cNvGrpSpPr/>
          <p:nvPr userDrawn="1"/>
        </p:nvGrpSpPr>
        <p:grpSpPr>
          <a:xfrm>
            <a:off x="6235107" y="-5123"/>
            <a:ext cx="5934301" cy="6869295"/>
            <a:chOff x="6235107" y="-5123"/>
            <a:chExt cx="5934301" cy="6869295"/>
          </a:xfrm>
        </p:grpSpPr>
        <p:sp>
          <p:nvSpPr>
            <p:cNvPr id="5" name="Forme libre : forme 4">
              <a:extLst>
                <a:ext uri="{FF2B5EF4-FFF2-40B4-BE49-F238E27FC236}">
                  <a16:creationId xmlns:a16="http://schemas.microsoft.com/office/drawing/2014/main" id="{FC89030D-A561-2099-5B5B-85306D65E3A9}"/>
                </a:ext>
              </a:extLst>
            </p:cNvPr>
            <p:cNvSpPr/>
            <p:nvPr/>
          </p:nvSpPr>
          <p:spPr>
            <a:xfrm>
              <a:off x="9851866" y="3342"/>
              <a:ext cx="2317542" cy="2722337"/>
            </a:xfrm>
            <a:custGeom>
              <a:avLst/>
              <a:gdLst>
                <a:gd name="connsiteX0" fmla="*/ 0 w 2317542"/>
                <a:gd name="connsiteY0" fmla="*/ 1552444 h 2722337"/>
                <a:gd name="connsiteX1" fmla="*/ 711734 w 2317542"/>
                <a:gd name="connsiteY1" fmla="*/ 2722338 h 2722337"/>
                <a:gd name="connsiteX2" fmla="*/ 2317543 w 2317542"/>
                <a:gd name="connsiteY2" fmla="*/ 0 h 2722337"/>
                <a:gd name="connsiteX3" fmla="*/ 1026971 w 2317542"/>
                <a:gd name="connsiteY3" fmla="*/ 0 h 2722337"/>
                <a:gd name="connsiteX4" fmla="*/ 0 w 2317542"/>
                <a:gd name="connsiteY4" fmla="*/ 1552444 h 272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7542" h="2722337">
                  <a:moveTo>
                    <a:pt x="0" y="1552444"/>
                  </a:moveTo>
                  <a:lnTo>
                    <a:pt x="711734" y="2722338"/>
                  </a:lnTo>
                  <a:lnTo>
                    <a:pt x="2317543" y="0"/>
                  </a:lnTo>
                  <a:lnTo>
                    <a:pt x="1026971" y="0"/>
                  </a:lnTo>
                  <a:lnTo>
                    <a:pt x="0" y="1552444"/>
                  </a:lnTo>
                  <a:close/>
                </a:path>
              </a:pathLst>
            </a:custGeom>
            <a:solidFill>
              <a:schemeClr val="accent2"/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chemeClr val="accent1"/>
                </a:solidFill>
              </a:endParaRPr>
            </a:p>
          </p:txBody>
        </p:sp>
        <p:sp>
          <p:nvSpPr>
            <p:cNvPr id="6" name="Forme libre : forme 5">
              <a:extLst>
                <a:ext uri="{FF2B5EF4-FFF2-40B4-BE49-F238E27FC236}">
                  <a16:creationId xmlns:a16="http://schemas.microsoft.com/office/drawing/2014/main" id="{A8E77EA6-4ED6-40AC-7AC3-D2C0DF5ECB51}"/>
                </a:ext>
              </a:extLst>
            </p:cNvPr>
            <p:cNvSpPr/>
            <p:nvPr/>
          </p:nvSpPr>
          <p:spPr>
            <a:xfrm>
              <a:off x="6235107" y="-5123"/>
              <a:ext cx="3710580" cy="6869295"/>
            </a:xfrm>
            <a:custGeom>
              <a:avLst/>
              <a:gdLst>
                <a:gd name="connsiteX0" fmla="*/ 1395113 w 3710580"/>
                <a:gd name="connsiteY0" fmla="*/ 0 h 6869295"/>
                <a:gd name="connsiteX1" fmla="*/ 0 w 3710580"/>
                <a:gd name="connsiteY1" fmla="*/ 0 h 6869295"/>
                <a:gd name="connsiteX2" fmla="*/ 2420009 w 3710580"/>
                <a:gd name="connsiteY2" fmla="*/ 3821462 h 6869295"/>
                <a:gd name="connsiteX3" fmla="*/ 2420009 w 3710580"/>
                <a:gd name="connsiteY3" fmla="*/ 6869296 h 6869295"/>
                <a:gd name="connsiteX4" fmla="*/ 3710581 w 3710580"/>
                <a:gd name="connsiteY4" fmla="*/ 6869296 h 6869295"/>
                <a:gd name="connsiteX5" fmla="*/ 3710581 w 3710580"/>
                <a:gd name="connsiteY5" fmla="*/ 3802444 h 6869295"/>
                <a:gd name="connsiteX6" fmla="*/ 3259797 w 3710580"/>
                <a:gd name="connsiteY6" fmla="*/ 3117797 h 6869295"/>
                <a:gd name="connsiteX7" fmla="*/ 1395113 w 3710580"/>
                <a:gd name="connsiteY7" fmla="*/ 0 h 686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0580" h="6869295">
                  <a:moveTo>
                    <a:pt x="1395113" y="0"/>
                  </a:moveTo>
                  <a:lnTo>
                    <a:pt x="0" y="0"/>
                  </a:lnTo>
                  <a:lnTo>
                    <a:pt x="2420009" y="3821462"/>
                  </a:lnTo>
                  <a:lnTo>
                    <a:pt x="2420009" y="6869296"/>
                  </a:lnTo>
                  <a:lnTo>
                    <a:pt x="3710581" y="6869296"/>
                  </a:lnTo>
                  <a:lnTo>
                    <a:pt x="3710581" y="3802444"/>
                  </a:lnTo>
                  <a:lnTo>
                    <a:pt x="3259797" y="3117797"/>
                  </a:lnTo>
                  <a:lnTo>
                    <a:pt x="1395113" y="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556921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41D30F-5398-E327-214D-D09F2BC1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A9A06A-7DB5-4F1C-804E-7DB70B44FFE7}" type="datetime1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214D794-300F-632E-027C-98AE7B0E8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EA679E1-628A-F676-102C-CD9D89C11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0C2EE3E-D440-98D9-F506-25595FF92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449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 foncé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41D30F-5398-E327-214D-D09F2BC1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8E737B-D495-4184-94E7-8C7DD4B2E0AA}" type="datetime1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214D794-300F-632E-027C-98AE7B0E8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EA679E1-628A-F676-102C-CD9D89C11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0C2EE3E-D440-98D9-F506-25595FF92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78524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 sans fo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41D30F-5398-E327-214D-D09F2BC1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0FAAA-24F0-4E2A-BAA5-FCC64711D68A}" type="datetime1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214D794-300F-632E-027C-98AE7B0E8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EA679E1-628A-F676-102C-CD9D89C11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0C2EE3E-D440-98D9-F506-25595FF92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id="{4B07A094-0E21-DFB9-20FF-3CE413AF57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AA1E77D5-FB99-4DCA-786B-38BF5F041C0F}"/>
              </a:ext>
            </a:extLst>
          </p:cNvPr>
          <p:cNvCxnSpPr/>
          <p:nvPr userDrawn="1"/>
        </p:nvCxnSpPr>
        <p:spPr>
          <a:xfrm>
            <a:off x="11366720" y="6356350"/>
            <a:ext cx="0" cy="50165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94250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 foncé sans fo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41D30F-5398-E327-214D-D09F2BC1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F8B88-53FA-4217-B9EA-82A8EAA02147}" type="datetime1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214D794-300F-632E-027C-98AE7B0E8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EA679E1-628A-F676-102C-CD9D89C11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0C2EE3E-D440-98D9-F506-25595FF92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id="{4B07A094-0E21-DFB9-20FF-3CE413AF57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AA1E77D5-FB99-4DCA-786B-38BF5F041C0F}"/>
              </a:ext>
            </a:extLst>
          </p:cNvPr>
          <p:cNvCxnSpPr/>
          <p:nvPr userDrawn="1"/>
        </p:nvCxnSpPr>
        <p:spPr>
          <a:xfrm>
            <a:off x="11366720" y="6356350"/>
            <a:ext cx="0" cy="50165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01740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centré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41D30F-5398-E327-214D-D09F2BC1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2BDA7-381A-4E00-A1B6-3C91FB8D3546}" type="datetime1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214D794-300F-632E-027C-98AE7B0E8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EA679E1-628A-F676-102C-CD9D89C11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C864768-2CFF-864F-677B-04936BB43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4641593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centré seul foncé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41D30F-5398-E327-214D-D09F2BC1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87294-2985-4AF1-8AF3-4B3CC9633F6F}" type="datetime1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214D794-300F-632E-027C-98AE7B0E8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EA679E1-628A-F676-102C-CD9D89C11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C864768-2CFF-864F-677B-04936BB43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187714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F216EAF-F89D-01A4-2470-E2E4016C6A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519A0-C04B-4337-9497-72D591A594B9}" type="datetime1">
              <a:rPr lang="fr-FR" smtClean="0"/>
              <a:t>16/09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67302A4-731F-22AE-4A18-33E31D4A1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950F7C6-2DB2-B6F1-A939-DEAE88373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66405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 foncé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F216EAF-F89D-01A4-2470-E2E4016C6A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D969A-D5DC-42B1-9FF9-4B00E0F3CCBA}" type="datetime1">
              <a:rPr lang="fr-FR" smtClean="0"/>
              <a:t>16/09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67302A4-731F-22AE-4A18-33E31D4A1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950F7C6-2DB2-B6F1-A939-DEAE88373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3275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9FF637-B271-967B-4B9F-042DC5BEB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3600"/>
            <a:ext cx="3932237" cy="626400"/>
          </a:xfrm>
        </p:spPr>
        <p:txBody>
          <a:bodyPr anchor="b"/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A206E92-E52A-0BBE-DB00-9D1C45446D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363600"/>
            <a:ext cx="6172200" cy="58464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849A77F-0AFC-AFC6-13E6-401351931C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209600"/>
            <a:ext cx="3932237" cy="50004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BF4D0DA-6CB3-7881-3386-A80C6CA62D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752AA7-BD06-4EE8-9001-850C730C8AF7}" type="datetime1">
              <a:rPr lang="fr-FR" smtClean="0"/>
              <a:t>16/09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966005A-0998-FAEA-3CE9-8B1CB9D9F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12C85CD-0803-C4E3-864C-49DC3786D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71813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31A2DE4-19D7-3C32-6A57-FED9CD37C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3600"/>
            <a:ext cx="4788126" cy="626400"/>
          </a:xfrm>
        </p:spPr>
        <p:txBody>
          <a:bodyPr anchor="b"/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9F09781-933C-B205-4627-784E94F8AC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943600" y="363600"/>
            <a:ext cx="5411788" cy="58463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89E4F77-5157-EADA-0204-C9BEEA7D63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209599"/>
            <a:ext cx="4788126" cy="50004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6D18D1E-3FAA-BE1E-4984-66DDD60CB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50307-F510-42E5-82B3-39EF4CD3C693}" type="datetime1">
              <a:rPr lang="fr-FR" smtClean="0"/>
              <a:t>16/09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694EE2E-9869-8EFB-1B6C-6D615ED855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FA0FE0B-808D-4CA2-71FC-677610E5B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90280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07A6A2E-6BFB-29DF-760F-609BEFA824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08311"/>
            <a:ext cx="10515600" cy="50004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3BEFE39F-8226-3486-AE23-2FF1B2C3D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60491-3D05-44B9-8C9E-5032336BE73D}" type="datetime1">
              <a:rPr lang="fr-FR" smtClean="0"/>
              <a:t>16/09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6A68D91E-4C3D-1BED-DF35-AEFDE479F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DF52FC7-03BE-DE98-20D7-D4F83BB8E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D4D94F-3731-DAE5-6E37-D119A8E73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585445D-E25D-B705-3C87-9826532266E2}"/>
              </a:ext>
            </a:extLst>
          </p:cNvPr>
          <p:cNvSpPr/>
          <p:nvPr userDrawn="1"/>
        </p:nvSpPr>
        <p:spPr>
          <a:xfrm>
            <a:off x="-1163505" y="677863"/>
            <a:ext cx="219074" cy="217487"/>
          </a:xfrm>
          <a:prstGeom prst="rect">
            <a:avLst/>
          </a:prstGeom>
          <a:solidFill>
            <a:srgbClr val="55FDB5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540000" rtlCol="0" anchor="ctr"/>
          <a:lstStyle/>
          <a:p>
            <a:pPr algn="l"/>
            <a:r>
              <a:rPr lang="fr-FR" sz="1050" dirty="0">
                <a:solidFill>
                  <a:schemeClr val="tx1"/>
                </a:solidFill>
              </a:rPr>
              <a:t>#55FDB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21C080D-5F13-574C-192B-97111D7E3D9D}"/>
              </a:ext>
            </a:extLst>
          </p:cNvPr>
          <p:cNvSpPr/>
          <p:nvPr userDrawn="1"/>
        </p:nvSpPr>
        <p:spPr>
          <a:xfrm>
            <a:off x="-1163505" y="981393"/>
            <a:ext cx="219074" cy="217487"/>
          </a:xfrm>
          <a:prstGeom prst="rect">
            <a:avLst/>
          </a:prstGeom>
          <a:solidFill>
            <a:srgbClr val="B0FED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540000" rtlCol="0" anchor="ctr"/>
          <a:lstStyle/>
          <a:p>
            <a:pPr algn="l"/>
            <a:r>
              <a:rPr lang="fr-FR" sz="1050" dirty="0">
                <a:solidFill>
                  <a:schemeClr val="tx1"/>
                </a:solidFill>
              </a:rPr>
              <a:t>#B0FEDE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420E5B-CEE2-A2D7-8B4F-F2B159382D7C}"/>
              </a:ext>
            </a:extLst>
          </p:cNvPr>
          <p:cNvSpPr/>
          <p:nvPr userDrawn="1"/>
        </p:nvSpPr>
        <p:spPr>
          <a:xfrm>
            <a:off x="-1163505" y="1618412"/>
            <a:ext cx="219074" cy="217487"/>
          </a:xfrm>
          <a:prstGeom prst="rect">
            <a:avLst/>
          </a:prstGeom>
          <a:solidFill>
            <a:srgbClr val="11245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540000" rtlCol="0" anchor="ctr"/>
          <a:lstStyle/>
          <a:p>
            <a:pPr algn="l"/>
            <a:r>
              <a:rPr lang="fr-FR" sz="1050" dirty="0">
                <a:solidFill>
                  <a:schemeClr val="tx1"/>
                </a:solidFill>
              </a:rPr>
              <a:t>#11245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27621C-AA8F-9829-F1C1-DE1E19CB7AE8}"/>
              </a:ext>
            </a:extLst>
          </p:cNvPr>
          <p:cNvSpPr/>
          <p:nvPr userDrawn="1"/>
        </p:nvSpPr>
        <p:spPr>
          <a:xfrm>
            <a:off x="-1163505" y="1921942"/>
            <a:ext cx="219074" cy="217487"/>
          </a:xfrm>
          <a:prstGeom prst="rect">
            <a:avLst/>
          </a:prstGeom>
          <a:solidFill>
            <a:srgbClr val="0095D9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540000" rtlCol="0" anchor="ctr"/>
          <a:lstStyle/>
          <a:p>
            <a:pPr algn="l"/>
            <a:r>
              <a:rPr lang="fr-FR" sz="1050" dirty="0">
                <a:solidFill>
                  <a:schemeClr val="tx1"/>
                </a:solidFill>
              </a:rPr>
              <a:t>#0095D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44E9BB-9C1C-AC64-B7E6-697F31F626F2}"/>
              </a:ext>
            </a:extLst>
          </p:cNvPr>
          <p:cNvSpPr/>
          <p:nvPr userDrawn="1"/>
        </p:nvSpPr>
        <p:spPr>
          <a:xfrm>
            <a:off x="-1163505" y="2515930"/>
            <a:ext cx="219074" cy="217487"/>
          </a:xfrm>
          <a:prstGeom prst="rect">
            <a:avLst/>
          </a:prstGeom>
          <a:solidFill>
            <a:srgbClr val="2C2C2C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540000" rtlCol="0" anchor="ctr"/>
          <a:lstStyle/>
          <a:p>
            <a:pPr algn="l"/>
            <a:r>
              <a:rPr lang="fr-FR" sz="1050" dirty="0">
                <a:solidFill>
                  <a:schemeClr val="tx1"/>
                </a:solidFill>
              </a:rPr>
              <a:t>#2C2C2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CE30B5-53F5-5ACC-B354-01E813426B9E}"/>
              </a:ext>
            </a:extLst>
          </p:cNvPr>
          <p:cNvSpPr/>
          <p:nvPr userDrawn="1"/>
        </p:nvSpPr>
        <p:spPr>
          <a:xfrm>
            <a:off x="-1163505" y="2819460"/>
            <a:ext cx="219074" cy="217487"/>
          </a:xfrm>
          <a:prstGeom prst="rect">
            <a:avLst/>
          </a:prstGeom>
          <a:solidFill>
            <a:srgbClr val="B1B1B1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540000" rtlCol="0" anchor="ctr"/>
          <a:lstStyle/>
          <a:p>
            <a:pPr algn="l"/>
            <a:r>
              <a:rPr lang="fr-FR" sz="1050" dirty="0">
                <a:solidFill>
                  <a:schemeClr val="tx1"/>
                </a:solidFill>
              </a:rPr>
              <a:t>#B0FEDE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576F51B-99CB-CF2D-EBAD-4E0028261B8B}"/>
              </a:ext>
            </a:extLst>
          </p:cNvPr>
          <p:cNvSpPr/>
          <p:nvPr userDrawn="1"/>
        </p:nvSpPr>
        <p:spPr>
          <a:xfrm>
            <a:off x="-1163505" y="3413446"/>
            <a:ext cx="219074" cy="217487"/>
          </a:xfrm>
          <a:prstGeom prst="rect">
            <a:avLst/>
          </a:prstGeom>
          <a:solidFill>
            <a:srgbClr val="FFAE0E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540000" rtlCol="0" anchor="ctr"/>
          <a:lstStyle/>
          <a:p>
            <a:pPr algn="l"/>
            <a:r>
              <a:rPr lang="fr-FR" sz="1050" dirty="0">
                <a:solidFill>
                  <a:schemeClr val="tx1"/>
                </a:solidFill>
              </a:rPr>
              <a:t>#FFAE0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964ADF9-C385-2A8F-4E8B-75694A5B7C55}"/>
              </a:ext>
            </a:extLst>
          </p:cNvPr>
          <p:cNvSpPr/>
          <p:nvPr userDrawn="1"/>
        </p:nvSpPr>
        <p:spPr>
          <a:xfrm>
            <a:off x="-1163505" y="3716977"/>
            <a:ext cx="219074" cy="217487"/>
          </a:xfrm>
          <a:prstGeom prst="rect">
            <a:avLst/>
          </a:prstGeom>
          <a:solidFill>
            <a:srgbClr val="F15106"/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540000" rtlCol="0" anchor="ctr"/>
          <a:lstStyle/>
          <a:p>
            <a:pPr algn="l"/>
            <a:r>
              <a:rPr lang="fr-FR" sz="1050" dirty="0">
                <a:solidFill>
                  <a:schemeClr val="tx1"/>
                </a:solidFill>
              </a:rPr>
              <a:t>#F15106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F41D9419-1FBD-3965-E248-2FF9CBB703D5}"/>
              </a:ext>
            </a:extLst>
          </p:cNvPr>
          <p:cNvSpPr txBox="1"/>
          <p:nvPr userDrawn="1"/>
        </p:nvSpPr>
        <p:spPr>
          <a:xfrm>
            <a:off x="-1163505" y="3156827"/>
            <a:ext cx="6286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b="1" dirty="0">
                <a:solidFill>
                  <a:srgbClr val="F15106"/>
                </a:solidFill>
              </a:rPr>
              <a:t>Valeur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1DCC6D4-B2F0-B590-139E-71E3010F727B}"/>
              </a:ext>
            </a:extLst>
          </p:cNvPr>
          <p:cNvSpPr txBox="1"/>
          <p:nvPr userDrawn="1"/>
        </p:nvSpPr>
        <p:spPr>
          <a:xfrm>
            <a:off x="-1163505" y="2255431"/>
            <a:ext cx="7425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b="1" dirty="0">
                <a:solidFill>
                  <a:srgbClr val="2C2C2C"/>
                </a:solidFill>
              </a:rPr>
              <a:t>Sécurité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08213EC7-ECB8-606C-E693-CB117C0B40D7}"/>
              </a:ext>
            </a:extLst>
          </p:cNvPr>
          <p:cNvSpPr txBox="1"/>
          <p:nvPr userDrawn="1"/>
        </p:nvSpPr>
        <p:spPr>
          <a:xfrm>
            <a:off x="-1166882" y="1354035"/>
            <a:ext cx="9637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b="1" dirty="0">
                <a:solidFill>
                  <a:srgbClr val="2C2C2C"/>
                </a:solidFill>
              </a:rPr>
              <a:t>Conformité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3BB71BAF-70FE-9094-41F7-65AF09561188}"/>
              </a:ext>
            </a:extLst>
          </p:cNvPr>
          <p:cNvSpPr txBox="1"/>
          <p:nvPr userDrawn="1"/>
        </p:nvSpPr>
        <p:spPr>
          <a:xfrm>
            <a:off x="-1166883" y="416809"/>
            <a:ext cx="71365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b="1" dirty="0">
                <a:solidFill>
                  <a:srgbClr val="2C2C2C"/>
                </a:solidFill>
              </a:rPr>
              <a:t>Ethique</a:t>
            </a:r>
          </a:p>
        </p:txBody>
      </p:sp>
    </p:spTree>
    <p:extLst>
      <p:ext uri="{BB962C8B-B14F-4D97-AF65-F5344CB8AC3E}">
        <p14:creationId xmlns:p14="http://schemas.microsoft.com/office/powerpoint/2010/main" val="26360847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bg>
      <p:bgPr>
        <a:gradFill>
          <a:gsLst>
            <a:gs pos="0">
              <a:schemeClr val="accent3"/>
            </a:gs>
            <a:gs pos="60000">
              <a:schemeClr val="bg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8189F59-0199-C82D-3264-D461207565A8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31A2DE4-19D7-3C32-6A57-FED9CD37C2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3600"/>
            <a:ext cx="4789714" cy="626400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r le titre du sommai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89E4F77-5157-EADA-0204-C9BEEA7D63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00" y="1209599"/>
            <a:ext cx="4789714" cy="5000400"/>
          </a:xfr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Tx/>
              <a:buFont typeface="+mj-lt"/>
              <a:buAutoNum type="arabicPeriod"/>
              <a:defRPr lang="fr-FR" dirty="0">
                <a:solidFill>
                  <a:schemeClr val="bg1"/>
                </a:solidFill>
              </a:defRPr>
            </a:lvl1pPr>
            <a:lvl2pPr marL="809625" indent="-285750">
              <a:buFont typeface="Avenir Next LT Pro" panose="020B0504020202020204" pitchFamily="34" charset="0"/>
              <a:buChar char="–"/>
              <a:defRPr>
                <a:solidFill>
                  <a:schemeClr val="bg1"/>
                </a:solidFill>
              </a:defRPr>
            </a:lvl2pPr>
            <a:lvl3pPr marL="1166813" indent="-228600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64B7265D-ED92-BE7B-3CE3-38B7829CC0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C9E5113-AE69-DA2F-E956-E78B5F3D33FF}"/>
              </a:ext>
            </a:extLst>
          </p:cNvPr>
          <p:cNvCxnSpPr/>
          <p:nvPr userDrawn="1"/>
        </p:nvCxnSpPr>
        <p:spPr>
          <a:xfrm>
            <a:off x="11366720" y="6356350"/>
            <a:ext cx="0" cy="50165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e la date 21">
            <a:extLst>
              <a:ext uri="{FF2B5EF4-FFF2-40B4-BE49-F238E27FC236}">
                <a16:creationId xmlns:a16="http://schemas.microsoft.com/office/drawing/2014/main" id="{12FD9377-F4A8-D94C-8290-57A044548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1B5B6F-0C96-4B08-A49A-29F167435896}" type="datetime1">
              <a:rPr lang="fr-FR" smtClean="0"/>
              <a:t>16/09/2024</a:t>
            </a:fld>
            <a:endParaRPr lang="fr-FR"/>
          </a:p>
        </p:txBody>
      </p:sp>
      <p:sp>
        <p:nvSpPr>
          <p:cNvPr id="23" name="Espace réservé du pied de page 22">
            <a:extLst>
              <a:ext uri="{FF2B5EF4-FFF2-40B4-BE49-F238E27FC236}">
                <a16:creationId xmlns:a16="http://schemas.microsoft.com/office/drawing/2014/main" id="{512D201B-BDB4-3F7E-E29E-DA37D4AF7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24" name="Espace réservé du numéro de diapositive 23">
            <a:extLst>
              <a:ext uri="{FF2B5EF4-FFF2-40B4-BE49-F238E27FC236}">
                <a16:creationId xmlns:a16="http://schemas.microsoft.com/office/drawing/2014/main" id="{86261BF8-EEF6-AFB1-BD57-C934BE279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9411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CF3A326F-4D19-62DA-939B-E18E8990E8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7B8C648-EDED-CC3A-09F4-00F0ADB848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7060E-38B1-4D95-B0C0-ACAB4DA87ECC}" type="datetime1">
              <a:rPr lang="fr-FR" smtClean="0"/>
              <a:t>16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146239B-B002-B2BE-FD3D-74F817D0B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B99D0CA-399E-BBC7-72C8-FF8139B67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D0C67873-4237-4EA5-4EAB-69FEE7055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23342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5B311981-AD15-9AA5-4398-74002F9408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C43AAA67-A855-4521-C83A-3F75F97E4F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84EF9C5-DC83-F807-3161-A1A00195E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08C4C-CD58-45EA-A122-7BF6E7405BEB}" type="datetime1">
              <a:rPr lang="fr-FR" smtClean="0"/>
              <a:t>16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574D721-CB68-075E-92AA-E4E0C0FB5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7307D0B-023B-EEA4-1891-6889D811F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04468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gradFill>
          <a:gsLst>
            <a:gs pos="60000">
              <a:schemeClr val="bg2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C76C900-5E10-54BB-8752-D6712DA263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7298" y="2735999"/>
            <a:ext cx="6574971" cy="1657475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4800" b="1">
                <a:solidFill>
                  <a:schemeClr val="accent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83A0D51-981B-EE96-F53D-6C1EBAA8F6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57299" y="4503417"/>
            <a:ext cx="6574972" cy="1249683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F41487CE-278F-23F6-03CB-83CE5F7940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9470" y="704455"/>
            <a:ext cx="2695575" cy="561975"/>
          </a:xfrm>
          <a:prstGeom prst="rect">
            <a:avLst/>
          </a:prstGeom>
        </p:spPr>
      </p:pic>
      <p:pic>
        <p:nvPicPr>
          <p:cNvPr id="9" name="Graphique 8">
            <a:extLst>
              <a:ext uri="{FF2B5EF4-FFF2-40B4-BE49-F238E27FC236}">
                <a16:creationId xmlns:a16="http://schemas.microsoft.com/office/drawing/2014/main" id="{9B70A6D8-77FF-6C5D-3485-C51193BC018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0B34C2B2-EEE9-86DB-BC6F-320AF20925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57298" y="5863043"/>
            <a:ext cx="6574969" cy="360000"/>
          </a:xfrm>
        </p:spPr>
        <p:txBody>
          <a:bodyPr>
            <a:noAutofit/>
          </a:bodyPr>
          <a:lstStyle>
            <a:lvl1pPr>
              <a:defRPr sz="1800">
                <a:solidFill>
                  <a:schemeClr val="accent2">
                    <a:lumMod val="40000"/>
                    <a:lumOff val="60000"/>
                  </a:schemeClr>
                </a:solidFill>
              </a:defRPr>
            </a:lvl1pPr>
            <a:lvl2pPr marL="42863" indent="0">
              <a:buNone/>
              <a:defRPr/>
            </a:lvl2pPr>
          </a:lstStyle>
          <a:p>
            <a:pPr lvl="0"/>
            <a:r>
              <a:rPr lang="fr-FR" dirty="0"/>
              <a:t>Cliquez pour modifier les styles de la date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923E368B-AA2D-F03A-C858-D0503C12D2BC}"/>
              </a:ext>
            </a:extLst>
          </p:cNvPr>
          <p:cNvGrpSpPr/>
          <p:nvPr userDrawn="1"/>
        </p:nvGrpSpPr>
        <p:grpSpPr>
          <a:xfrm>
            <a:off x="6235107" y="-5123"/>
            <a:ext cx="5934301" cy="6869295"/>
            <a:chOff x="6235107" y="-5123"/>
            <a:chExt cx="5934301" cy="6869295"/>
          </a:xfrm>
        </p:grpSpPr>
        <p:sp>
          <p:nvSpPr>
            <p:cNvPr id="5" name="Forme libre : forme 4">
              <a:extLst>
                <a:ext uri="{FF2B5EF4-FFF2-40B4-BE49-F238E27FC236}">
                  <a16:creationId xmlns:a16="http://schemas.microsoft.com/office/drawing/2014/main" id="{FC89030D-A561-2099-5B5B-85306D65E3A9}"/>
                </a:ext>
              </a:extLst>
            </p:cNvPr>
            <p:cNvSpPr/>
            <p:nvPr/>
          </p:nvSpPr>
          <p:spPr>
            <a:xfrm>
              <a:off x="9851866" y="3342"/>
              <a:ext cx="2317542" cy="2722337"/>
            </a:xfrm>
            <a:custGeom>
              <a:avLst/>
              <a:gdLst>
                <a:gd name="connsiteX0" fmla="*/ 0 w 2317542"/>
                <a:gd name="connsiteY0" fmla="*/ 1552444 h 2722337"/>
                <a:gd name="connsiteX1" fmla="*/ 711734 w 2317542"/>
                <a:gd name="connsiteY1" fmla="*/ 2722338 h 2722337"/>
                <a:gd name="connsiteX2" fmla="*/ 2317543 w 2317542"/>
                <a:gd name="connsiteY2" fmla="*/ 0 h 2722337"/>
                <a:gd name="connsiteX3" fmla="*/ 1026971 w 2317542"/>
                <a:gd name="connsiteY3" fmla="*/ 0 h 2722337"/>
                <a:gd name="connsiteX4" fmla="*/ 0 w 2317542"/>
                <a:gd name="connsiteY4" fmla="*/ 1552444 h 272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7542" h="2722337">
                  <a:moveTo>
                    <a:pt x="0" y="1552444"/>
                  </a:moveTo>
                  <a:lnTo>
                    <a:pt x="711734" y="2722338"/>
                  </a:lnTo>
                  <a:lnTo>
                    <a:pt x="2317543" y="0"/>
                  </a:lnTo>
                  <a:lnTo>
                    <a:pt x="1026971" y="0"/>
                  </a:lnTo>
                  <a:lnTo>
                    <a:pt x="0" y="1552444"/>
                  </a:lnTo>
                  <a:close/>
                </a:path>
              </a:pathLst>
            </a:custGeom>
            <a:solidFill>
              <a:schemeClr val="accent2"/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chemeClr val="accent1"/>
                </a:solidFill>
              </a:endParaRPr>
            </a:p>
          </p:txBody>
        </p:sp>
        <p:sp>
          <p:nvSpPr>
            <p:cNvPr id="6" name="Forme libre : forme 5">
              <a:extLst>
                <a:ext uri="{FF2B5EF4-FFF2-40B4-BE49-F238E27FC236}">
                  <a16:creationId xmlns:a16="http://schemas.microsoft.com/office/drawing/2014/main" id="{A8E77EA6-4ED6-40AC-7AC3-D2C0DF5ECB51}"/>
                </a:ext>
              </a:extLst>
            </p:cNvPr>
            <p:cNvSpPr/>
            <p:nvPr/>
          </p:nvSpPr>
          <p:spPr>
            <a:xfrm>
              <a:off x="6235107" y="-5123"/>
              <a:ext cx="3710580" cy="6869295"/>
            </a:xfrm>
            <a:custGeom>
              <a:avLst/>
              <a:gdLst>
                <a:gd name="connsiteX0" fmla="*/ 1395113 w 3710580"/>
                <a:gd name="connsiteY0" fmla="*/ 0 h 6869295"/>
                <a:gd name="connsiteX1" fmla="*/ 0 w 3710580"/>
                <a:gd name="connsiteY1" fmla="*/ 0 h 6869295"/>
                <a:gd name="connsiteX2" fmla="*/ 2420009 w 3710580"/>
                <a:gd name="connsiteY2" fmla="*/ 3821462 h 6869295"/>
                <a:gd name="connsiteX3" fmla="*/ 2420009 w 3710580"/>
                <a:gd name="connsiteY3" fmla="*/ 6869296 h 6869295"/>
                <a:gd name="connsiteX4" fmla="*/ 3710581 w 3710580"/>
                <a:gd name="connsiteY4" fmla="*/ 6869296 h 6869295"/>
                <a:gd name="connsiteX5" fmla="*/ 3710581 w 3710580"/>
                <a:gd name="connsiteY5" fmla="*/ 3802444 h 6869295"/>
                <a:gd name="connsiteX6" fmla="*/ 3259797 w 3710580"/>
                <a:gd name="connsiteY6" fmla="*/ 3117797 h 6869295"/>
                <a:gd name="connsiteX7" fmla="*/ 1395113 w 3710580"/>
                <a:gd name="connsiteY7" fmla="*/ 0 h 686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0580" h="6869295">
                  <a:moveTo>
                    <a:pt x="1395113" y="0"/>
                  </a:moveTo>
                  <a:lnTo>
                    <a:pt x="0" y="0"/>
                  </a:lnTo>
                  <a:lnTo>
                    <a:pt x="2420009" y="3821462"/>
                  </a:lnTo>
                  <a:lnTo>
                    <a:pt x="2420009" y="6869296"/>
                  </a:lnTo>
                  <a:lnTo>
                    <a:pt x="3710581" y="6869296"/>
                  </a:lnTo>
                  <a:lnTo>
                    <a:pt x="3710581" y="3802444"/>
                  </a:lnTo>
                  <a:lnTo>
                    <a:pt x="3259797" y="3117797"/>
                  </a:lnTo>
                  <a:lnTo>
                    <a:pt x="1395113" y="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4607626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07A6A2E-6BFB-29DF-760F-609BEFA824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08311"/>
            <a:ext cx="10515600" cy="50004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3BEFE39F-8226-3486-AE23-2FF1B2C3D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0C0D0-2AF0-4AEE-9650-74BB38D12A7A}" type="datetime1">
              <a:rPr lang="fr-FR" smtClean="0"/>
              <a:t>16/09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6A68D91E-4C3D-1BED-DF35-AEFDE479F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DF52FC7-03BE-DE98-20D7-D4F83BB8E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D4D94F-3731-DAE5-6E37-D119A8E73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779417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07A6A2E-6BFB-29DF-760F-609BEFA824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08311"/>
            <a:ext cx="10515600" cy="50004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3BEFE39F-8226-3486-AE23-2FF1B2C3D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BF4CB8-F312-448A-BF7F-E06D428063F2}" type="datetime1">
              <a:rPr lang="fr-FR" smtClean="0"/>
              <a:t>16/09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6A68D91E-4C3D-1BED-DF35-AEFDE479F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DF52FC7-03BE-DE98-20D7-D4F83BB8E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D4D94F-3731-DAE5-6E37-D119A8E73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193670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 événement">
    <p:bg>
      <p:bgPr>
        <a:gradFill>
          <a:gsLst>
            <a:gs pos="0">
              <a:schemeClr val="accent3"/>
            </a:gs>
            <a:gs pos="60000">
              <a:schemeClr val="bg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C76C900-5E10-54BB-8752-D6712DA263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199" y="1391919"/>
            <a:ext cx="6088118" cy="2182405"/>
          </a:xfrm>
        </p:spPr>
        <p:txBody>
          <a:bodyPr anchor="b"/>
          <a:lstStyle>
            <a:lvl1pPr algn="l">
              <a:lnSpc>
                <a:spcPct val="90000"/>
              </a:lnSpc>
              <a:defRPr sz="6000" b="1">
                <a:solidFill>
                  <a:schemeClr val="accent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83A0D51-981B-EE96-F53D-6C1EBAA8F6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199" y="3684268"/>
            <a:ext cx="6574972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F41487CE-278F-23F6-03CB-83CE5F7940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199" y="720000"/>
            <a:ext cx="2695575" cy="561975"/>
          </a:xfrm>
          <a:prstGeom prst="rect">
            <a:avLst/>
          </a:prstGeom>
        </p:spPr>
      </p:pic>
      <p:pic>
        <p:nvPicPr>
          <p:cNvPr id="9" name="Graphique 8">
            <a:extLst>
              <a:ext uri="{FF2B5EF4-FFF2-40B4-BE49-F238E27FC236}">
                <a16:creationId xmlns:a16="http://schemas.microsoft.com/office/drawing/2014/main" id="{9B70A6D8-77FF-6C5D-3485-C51193BC018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grpSp>
        <p:nvGrpSpPr>
          <p:cNvPr id="4" name="Groupe 3">
            <a:extLst>
              <a:ext uri="{FF2B5EF4-FFF2-40B4-BE49-F238E27FC236}">
                <a16:creationId xmlns:a16="http://schemas.microsoft.com/office/drawing/2014/main" id="{CA36DF5E-D3CE-2E36-AF04-BFC64EC36120}"/>
              </a:ext>
            </a:extLst>
          </p:cNvPr>
          <p:cNvGrpSpPr/>
          <p:nvPr userDrawn="1"/>
        </p:nvGrpSpPr>
        <p:grpSpPr>
          <a:xfrm>
            <a:off x="6235107" y="-5123"/>
            <a:ext cx="5934301" cy="6869295"/>
            <a:chOff x="6235107" y="-5123"/>
            <a:chExt cx="5934301" cy="6869295"/>
          </a:xfrm>
        </p:grpSpPr>
        <p:sp>
          <p:nvSpPr>
            <p:cNvPr id="5" name="Forme libre : forme 4">
              <a:extLst>
                <a:ext uri="{FF2B5EF4-FFF2-40B4-BE49-F238E27FC236}">
                  <a16:creationId xmlns:a16="http://schemas.microsoft.com/office/drawing/2014/main" id="{8FB623D2-1819-28D3-6F51-34CB6A980619}"/>
                </a:ext>
              </a:extLst>
            </p:cNvPr>
            <p:cNvSpPr/>
            <p:nvPr/>
          </p:nvSpPr>
          <p:spPr>
            <a:xfrm>
              <a:off x="9851866" y="3342"/>
              <a:ext cx="2317542" cy="2722337"/>
            </a:xfrm>
            <a:custGeom>
              <a:avLst/>
              <a:gdLst>
                <a:gd name="connsiteX0" fmla="*/ 0 w 2317542"/>
                <a:gd name="connsiteY0" fmla="*/ 1552444 h 2722337"/>
                <a:gd name="connsiteX1" fmla="*/ 711734 w 2317542"/>
                <a:gd name="connsiteY1" fmla="*/ 2722338 h 2722337"/>
                <a:gd name="connsiteX2" fmla="*/ 2317543 w 2317542"/>
                <a:gd name="connsiteY2" fmla="*/ 0 h 2722337"/>
                <a:gd name="connsiteX3" fmla="*/ 1026971 w 2317542"/>
                <a:gd name="connsiteY3" fmla="*/ 0 h 2722337"/>
                <a:gd name="connsiteX4" fmla="*/ 0 w 2317542"/>
                <a:gd name="connsiteY4" fmla="*/ 1552444 h 272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7542" h="2722337">
                  <a:moveTo>
                    <a:pt x="0" y="1552444"/>
                  </a:moveTo>
                  <a:lnTo>
                    <a:pt x="711734" y="2722338"/>
                  </a:lnTo>
                  <a:lnTo>
                    <a:pt x="2317543" y="0"/>
                  </a:lnTo>
                  <a:lnTo>
                    <a:pt x="1026971" y="0"/>
                  </a:lnTo>
                  <a:lnTo>
                    <a:pt x="0" y="1552444"/>
                  </a:lnTo>
                  <a:close/>
                </a:path>
              </a:pathLst>
            </a:custGeom>
            <a:solidFill>
              <a:schemeClr val="accent2"/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" name="Forme libre : forme 5">
              <a:extLst>
                <a:ext uri="{FF2B5EF4-FFF2-40B4-BE49-F238E27FC236}">
                  <a16:creationId xmlns:a16="http://schemas.microsoft.com/office/drawing/2014/main" id="{4495151F-9094-46DD-A859-721D4D50F7F4}"/>
                </a:ext>
              </a:extLst>
            </p:cNvPr>
            <p:cNvSpPr/>
            <p:nvPr/>
          </p:nvSpPr>
          <p:spPr>
            <a:xfrm>
              <a:off x="6235107" y="-5123"/>
              <a:ext cx="3710580" cy="6869295"/>
            </a:xfrm>
            <a:custGeom>
              <a:avLst/>
              <a:gdLst>
                <a:gd name="connsiteX0" fmla="*/ 1395113 w 3710580"/>
                <a:gd name="connsiteY0" fmla="*/ 0 h 6869295"/>
                <a:gd name="connsiteX1" fmla="*/ 0 w 3710580"/>
                <a:gd name="connsiteY1" fmla="*/ 0 h 6869295"/>
                <a:gd name="connsiteX2" fmla="*/ 2420009 w 3710580"/>
                <a:gd name="connsiteY2" fmla="*/ 3821462 h 6869295"/>
                <a:gd name="connsiteX3" fmla="*/ 2420009 w 3710580"/>
                <a:gd name="connsiteY3" fmla="*/ 6869296 h 6869295"/>
                <a:gd name="connsiteX4" fmla="*/ 3710581 w 3710580"/>
                <a:gd name="connsiteY4" fmla="*/ 6869296 h 6869295"/>
                <a:gd name="connsiteX5" fmla="*/ 3710581 w 3710580"/>
                <a:gd name="connsiteY5" fmla="*/ 3802444 h 6869295"/>
                <a:gd name="connsiteX6" fmla="*/ 3259797 w 3710580"/>
                <a:gd name="connsiteY6" fmla="*/ 3117797 h 6869295"/>
                <a:gd name="connsiteX7" fmla="*/ 1395113 w 3710580"/>
                <a:gd name="connsiteY7" fmla="*/ 0 h 686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0580" h="6869295">
                  <a:moveTo>
                    <a:pt x="1395113" y="0"/>
                  </a:moveTo>
                  <a:lnTo>
                    <a:pt x="0" y="0"/>
                  </a:lnTo>
                  <a:lnTo>
                    <a:pt x="2420009" y="3821462"/>
                  </a:lnTo>
                  <a:lnTo>
                    <a:pt x="2420009" y="6869296"/>
                  </a:lnTo>
                  <a:lnTo>
                    <a:pt x="3710581" y="6869296"/>
                  </a:lnTo>
                  <a:lnTo>
                    <a:pt x="3710581" y="3802444"/>
                  </a:lnTo>
                  <a:lnTo>
                    <a:pt x="3259797" y="3117797"/>
                  </a:lnTo>
                  <a:lnTo>
                    <a:pt x="1395113" y="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275844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fixe">
    <p:bg>
      <p:bgPr>
        <a:gradFill>
          <a:gsLst>
            <a:gs pos="0">
              <a:schemeClr val="accent3"/>
            </a:gs>
            <a:gs pos="60000">
              <a:schemeClr val="bg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D1DCB53-411B-650F-D848-F71611220941}"/>
              </a:ext>
            </a:extLst>
          </p:cNvPr>
          <p:cNvSpPr/>
          <p:nvPr userDrawn="1"/>
        </p:nvSpPr>
        <p:spPr>
          <a:xfrm>
            <a:off x="7556500" y="0"/>
            <a:ext cx="4635500" cy="685465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83A0D51-981B-EE96-F53D-6C1EBAA8F6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199" y="3568656"/>
            <a:ext cx="6269136" cy="488337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 la date</a:t>
            </a: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F41487CE-278F-23F6-03CB-83CE5F7940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199" y="720000"/>
            <a:ext cx="2695575" cy="561975"/>
          </a:xfrm>
          <a:prstGeom prst="rect">
            <a:avLst/>
          </a:prstGeom>
        </p:spPr>
      </p:pic>
      <p:pic>
        <p:nvPicPr>
          <p:cNvPr id="9" name="Graphique 8">
            <a:extLst>
              <a:ext uri="{FF2B5EF4-FFF2-40B4-BE49-F238E27FC236}">
                <a16:creationId xmlns:a16="http://schemas.microsoft.com/office/drawing/2014/main" id="{9B70A6D8-77FF-6C5D-3485-C51193BC018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67696" y="5512940"/>
            <a:ext cx="875139" cy="875139"/>
          </a:xfrm>
          <a:prstGeom prst="rect">
            <a:avLst/>
          </a:prstGeom>
        </p:spPr>
      </p:pic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053570F2-46C7-AF25-B5D1-47FE110675BF}"/>
              </a:ext>
            </a:extLst>
          </p:cNvPr>
          <p:cNvSpPr/>
          <p:nvPr/>
        </p:nvSpPr>
        <p:spPr>
          <a:xfrm>
            <a:off x="9851866" y="3342"/>
            <a:ext cx="2317542" cy="2722337"/>
          </a:xfrm>
          <a:custGeom>
            <a:avLst/>
            <a:gdLst>
              <a:gd name="connsiteX0" fmla="*/ 0 w 2317542"/>
              <a:gd name="connsiteY0" fmla="*/ 1552444 h 2722337"/>
              <a:gd name="connsiteX1" fmla="*/ 711734 w 2317542"/>
              <a:gd name="connsiteY1" fmla="*/ 2722338 h 2722337"/>
              <a:gd name="connsiteX2" fmla="*/ 2317543 w 2317542"/>
              <a:gd name="connsiteY2" fmla="*/ 0 h 2722337"/>
              <a:gd name="connsiteX3" fmla="*/ 1026971 w 2317542"/>
              <a:gd name="connsiteY3" fmla="*/ 0 h 2722337"/>
              <a:gd name="connsiteX4" fmla="*/ 0 w 2317542"/>
              <a:gd name="connsiteY4" fmla="*/ 1552444 h 2722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17542" h="2722337">
                <a:moveTo>
                  <a:pt x="0" y="1552444"/>
                </a:moveTo>
                <a:lnTo>
                  <a:pt x="711734" y="2722338"/>
                </a:lnTo>
                <a:lnTo>
                  <a:pt x="2317543" y="0"/>
                </a:lnTo>
                <a:lnTo>
                  <a:pt x="1026971" y="0"/>
                </a:lnTo>
                <a:lnTo>
                  <a:pt x="0" y="1552444"/>
                </a:lnTo>
                <a:close/>
              </a:path>
            </a:pathLst>
          </a:custGeom>
          <a:solidFill>
            <a:schemeClr val="accent5"/>
          </a:solidFill>
          <a:ln w="11521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tx2"/>
              </a:solidFill>
            </a:endParaRPr>
          </a:p>
        </p:txBody>
      </p:sp>
      <p:pic>
        <p:nvPicPr>
          <p:cNvPr id="15" name="Image 14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B8F7A001-184A-55AA-984E-75045DFEB39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1839239"/>
            <a:ext cx="5030459" cy="1512537"/>
          </a:xfrm>
          <a:prstGeom prst="rect">
            <a:avLst/>
          </a:prstGeom>
        </p:spPr>
      </p:pic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2832ACE5-A9F2-8952-2520-77F5AE6F1DD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838199" y="4614257"/>
            <a:ext cx="6269136" cy="164990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2400" smtClean="0"/>
            </a:lvl1pPr>
            <a:lvl2pPr>
              <a:defRPr lang="fr-FR" sz="2000" smtClean="0"/>
            </a:lvl2pPr>
            <a:lvl3pPr>
              <a:defRPr lang="fr-FR" sz="1800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Forme libre : forme 1">
            <a:extLst>
              <a:ext uri="{FF2B5EF4-FFF2-40B4-BE49-F238E27FC236}">
                <a16:creationId xmlns:a16="http://schemas.microsoft.com/office/drawing/2014/main" id="{DC3C4649-EEEB-3F88-4A7F-4100CDB4101C}"/>
              </a:ext>
            </a:extLst>
          </p:cNvPr>
          <p:cNvSpPr/>
          <p:nvPr userDrawn="1"/>
        </p:nvSpPr>
        <p:spPr>
          <a:xfrm>
            <a:off x="4950591" y="-2014"/>
            <a:ext cx="3710580" cy="6869295"/>
          </a:xfrm>
          <a:custGeom>
            <a:avLst/>
            <a:gdLst>
              <a:gd name="connsiteX0" fmla="*/ 1395113 w 3710580"/>
              <a:gd name="connsiteY0" fmla="*/ 0 h 6869295"/>
              <a:gd name="connsiteX1" fmla="*/ 0 w 3710580"/>
              <a:gd name="connsiteY1" fmla="*/ 0 h 6869295"/>
              <a:gd name="connsiteX2" fmla="*/ 2420009 w 3710580"/>
              <a:gd name="connsiteY2" fmla="*/ 3821462 h 6869295"/>
              <a:gd name="connsiteX3" fmla="*/ 2420009 w 3710580"/>
              <a:gd name="connsiteY3" fmla="*/ 6869296 h 6869295"/>
              <a:gd name="connsiteX4" fmla="*/ 3710581 w 3710580"/>
              <a:gd name="connsiteY4" fmla="*/ 6869296 h 6869295"/>
              <a:gd name="connsiteX5" fmla="*/ 3710581 w 3710580"/>
              <a:gd name="connsiteY5" fmla="*/ 3802444 h 6869295"/>
              <a:gd name="connsiteX6" fmla="*/ 3259797 w 3710580"/>
              <a:gd name="connsiteY6" fmla="*/ 3117797 h 6869295"/>
              <a:gd name="connsiteX7" fmla="*/ 1395113 w 3710580"/>
              <a:gd name="connsiteY7" fmla="*/ 0 h 6869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10580" h="6869295">
                <a:moveTo>
                  <a:pt x="1395113" y="0"/>
                </a:moveTo>
                <a:lnTo>
                  <a:pt x="0" y="0"/>
                </a:lnTo>
                <a:lnTo>
                  <a:pt x="2420009" y="3821462"/>
                </a:lnTo>
                <a:lnTo>
                  <a:pt x="2420009" y="6869296"/>
                </a:lnTo>
                <a:lnTo>
                  <a:pt x="3710581" y="6869296"/>
                </a:lnTo>
                <a:lnTo>
                  <a:pt x="3710581" y="3802444"/>
                </a:lnTo>
                <a:lnTo>
                  <a:pt x="3259797" y="3117797"/>
                </a:lnTo>
                <a:lnTo>
                  <a:pt x="1395113" y="0"/>
                </a:lnTo>
                <a:close/>
              </a:path>
            </a:pathLst>
          </a:custGeom>
          <a:solidFill>
            <a:schemeClr val="accent2"/>
          </a:solidFill>
          <a:ln w="11521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9F6F1F6-0371-465E-DAE6-B51F0F9BA71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0150" y="0"/>
            <a:ext cx="35998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415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titre fixe">
    <p:bg>
      <p:bgPr>
        <a:gradFill>
          <a:gsLst>
            <a:gs pos="0">
              <a:schemeClr val="accent3"/>
            </a:gs>
            <a:gs pos="60000">
              <a:schemeClr val="bg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D83A0D51-981B-EE96-F53D-6C1EBAA8F6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199" y="3568656"/>
            <a:ext cx="6574972" cy="488337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 la date</a:t>
            </a: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F41487CE-278F-23F6-03CB-83CE5F7940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199" y="720000"/>
            <a:ext cx="2695575" cy="561975"/>
          </a:xfrm>
          <a:prstGeom prst="rect">
            <a:avLst/>
          </a:prstGeom>
        </p:spPr>
      </p:pic>
      <p:pic>
        <p:nvPicPr>
          <p:cNvPr id="9" name="Graphique 8">
            <a:extLst>
              <a:ext uri="{FF2B5EF4-FFF2-40B4-BE49-F238E27FC236}">
                <a16:creationId xmlns:a16="http://schemas.microsoft.com/office/drawing/2014/main" id="{9B70A6D8-77FF-6C5D-3485-C51193BC018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67696" y="5512940"/>
            <a:ext cx="875139" cy="875139"/>
          </a:xfrm>
          <a:prstGeom prst="rect">
            <a:avLst/>
          </a:prstGeom>
        </p:spPr>
      </p:pic>
      <p:grpSp>
        <p:nvGrpSpPr>
          <p:cNvPr id="7" name="Groupe 6">
            <a:extLst>
              <a:ext uri="{FF2B5EF4-FFF2-40B4-BE49-F238E27FC236}">
                <a16:creationId xmlns:a16="http://schemas.microsoft.com/office/drawing/2014/main" id="{AB63FDC6-E149-78CF-51E7-6A12D5BA5056}"/>
              </a:ext>
            </a:extLst>
          </p:cNvPr>
          <p:cNvGrpSpPr/>
          <p:nvPr userDrawn="1"/>
        </p:nvGrpSpPr>
        <p:grpSpPr>
          <a:xfrm>
            <a:off x="6235107" y="-5123"/>
            <a:ext cx="5934301" cy="6869295"/>
            <a:chOff x="6235107" y="-5123"/>
            <a:chExt cx="5934301" cy="6869295"/>
          </a:xfrm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053570F2-46C7-AF25-B5D1-47FE110675BF}"/>
                </a:ext>
              </a:extLst>
            </p:cNvPr>
            <p:cNvSpPr/>
            <p:nvPr/>
          </p:nvSpPr>
          <p:spPr>
            <a:xfrm>
              <a:off x="9851866" y="3342"/>
              <a:ext cx="2317542" cy="2722337"/>
            </a:xfrm>
            <a:custGeom>
              <a:avLst/>
              <a:gdLst>
                <a:gd name="connsiteX0" fmla="*/ 0 w 2317542"/>
                <a:gd name="connsiteY0" fmla="*/ 1552444 h 2722337"/>
                <a:gd name="connsiteX1" fmla="*/ 711734 w 2317542"/>
                <a:gd name="connsiteY1" fmla="*/ 2722338 h 2722337"/>
                <a:gd name="connsiteX2" fmla="*/ 2317543 w 2317542"/>
                <a:gd name="connsiteY2" fmla="*/ 0 h 2722337"/>
                <a:gd name="connsiteX3" fmla="*/ 1026971 w 2317542"/>
                <a:gd name="connsiteY3" fmla="*/ 0 h 2722337"/>
                <a:gd name="connsiteX4" fmla="*/ 0 w 2317542"/>
                <a:gd name="connsiteY4" fmla="*/ 1552444 h 272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7542" h="2722337">
                  <a:moveTo>
                    <a:pt x="0" y="1552444"/>
                  </a:moveTo>
                  <a:lnTo>
                    <a:pt x="711734" y="2722338"/>
                  </a:lnTo>
                  <a:lnTo>
                    <a:pt x="2317543" y="0"/>
                  </a:lnTo>
                  <a:lnTo>
                    <a:pt x="1026971" y="0"/>
                  </a:lnTo>
                  <a:lnTo>
                    <a:pt x="0" y="1552444"/>
                  </a:lnTo>
                  <a:close/>
                </a:path>
              </a:pathLst>
            </a:custGeom>
            <a:solidFill>
              <a:schemeClr val="accent2"/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68FA6CE1-B730-1C56-0EAE-4788010215FC}"/>
                </a:ext>
              </a:extLst>
            </p:cNvPr>
            <p:cNvSpPr/>
            <p:nvPr/>
          </p:nvSpPr>
          <p:spPr>
            <a:xfrm>
              <a:off x="6235107" y="-5123"/>
              <a:ext cx="3710580" cy="6869295"/>
            </a:xfrm>
            <a:custGeom>
              <a:avLst/>
              <a:gdLst>
                <a:gd name="connsiteX0" fmla="*/ 1395113 w 3710580"/>
                <a:gd name="connsiteY0" fmla="*/ 0 h 6869295"/>
                <a:gd name="connsiteX1" fmla="*/ 0 w 3710580"/>
                <a:gd name="connsiteY1" fmla="*/ 0 h 6869295"/>
                <a:gd name="connsiteX2" fmla="*/ 2420009 w 3710580"/>
                <a:gd name="connsiteY2" fmla="*/ 3821462 h 6869295"/>
                <a:gd name="connsiteX3" fmla="*/ 2420009 w 3710580"/>
                <a:gd name="connsiteY3" fmla="*/ 6869296 h 6869295"/>
                <a:gd name="connsiteX4" fmla="*/ 3710581 w 3710580"/>
                <a:gd name="connsiteY4" fmla="*/ 6869296 h 6869295"/>
                <a:gd name="connsiteX5" fmla="*/ 3710581 w 3710580"/>
                <a:gd name="connsiteY5" fmla="*/ 3802444 h 6869295"/>
                <a:gd name="connsiteX6" fmla="*/ 3259797 w 3710580"/>
                <a:gd name="connsiteY6" fmla="*/ 3117797 h 6869295"/>
                <a:gd name="connsiteX7" fmla="*/ 1395113 w 3710580"/>
                <a:gd name="connsiteY7" fmla="*/ 0 h 686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0580" h="6869295">
                  <a:moveTo>
                    <a:pt x="1395113" y="0"/>
                  </a:moveTo>
                  <a:lnTo>
                    <a:pt x="0" y="0"/>
                  </a:lnTo>
                  <a:lnTo>
                    <a:pt x="2420009" y="3821462"/>
                  </a:lnTo>
                  <a:lnTo>
                    <a:pt x="2420009" y="6869296"/>
                  </a:lnTo>
                  <a:lnTo>
                    <a:pt x="3710581" y="6869296"/>
                  </a:lnTo>
                  <a:lnTo>
                    <a:pt x="3710581" y="3802444"/>
                  </a:lnTo>
                  <a:lnTo>
                    <a:pt x="3259797" y="3117797"/>
                  </a:lnTo>
                  <a:lnTo>
                    <a:pt x="1395113" y="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pic>
        <p:nvPicPr>
          <p:cNvPr id="15" name="Image 14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B8F7A001-184A-55AA-984E-75045DFEB39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1839239"/>
            <a:ext cx="5028675" cy="1512000"/>
          </a:xfrm>
          <a:prstGeom prst="rect">
            <a:avLst/>
          </a:prstGeom>
        </p:spPr>
      </p:pic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2832ACE5-A9F2-8952-2520-77F5AE6F1D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199" y="4614257"/>
            <a:ext cx="7475484" cy="164990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2400" smtClean="0"/>
            </a:lvl1pPr>
            <a:lvl2pPr>
              <a:defRPr lang="fr-FR" sz="2000" smtClean="0"/>
            </a:lvl2pPr>
            <a:lvl3pPr>
              <a:defRPr lang="fr-FR" sz="1800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161352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gradFill flip="none" rotWithShape="1">
          <a:gsLst>
            <a:gs pos="0">
              <a:schemeClr val="accent3"/>
            </a:gs>
            <a:gs pos="60000">
              <a:schemeClr val="bg2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B2791E9-C8B4-B910-D76F-DA2026C7A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1456" y="2895600"/>
            <a:ext cx="6789555" cy="1666875"/>
          </a:xfr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0FC77EB-730C-8183-F909-611B426354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61456" y="4702629"/>
            <a:ext cx="6789555" cy="1387021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A4D308A-2401-22A9-347B-156AF47632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630" y="2895600"/>
            <a:ext cx="1207634" cy="1693863"/>
          </a:xfrm>
        </p:spPr>
        <p:txBody>
          <a:bodyPr anchor="ctr">
            <a:normAutofit/>
          </a:bodyPr>
          <a:lstStyle>
            <a:lvl1pPr marL="0" indent="0" algn="r">
              <a:buNone/>
              <a:defRPr sz="5400" b="1">
                <a:solidFill>
                  <a:schemeClr val="accent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FD0170AC-3B13-23DE-EE6A-56D6F14983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96235AC-B8F1-47A5-9691-820551A6A320}" type="datetime1">
              <a:rPr lang="fr-FR" smtClean="0"/>
              <a:t>16/09/2024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D3007904-7853-08FF-A8E0-4A17493C47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B18DE300-EB44-9567-2871-C814B5A6FF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0067F0A5-0706-3F4D-B8A3-4E61D3FBEDDF}"/>
              </a:ext>
            </a:extLst>
          </p:cNvPr>
          <p:cNvGrpSpPr/>
          <p:nvPr userDrawn="1"/>
        </p:nvGrpSpPr>
        <p:grpSpPr>
          <a:xfrm>
            <a:off x="6235107" y="-5123"/>
            <a:ext cx="5934301" cy="6869295"/>
            <a:chOff x="6235107" y="-5123"/>
            <a:chExt cx="5934301" cy="6869295"/>
          </a:xfrm>
        </p:grpSpPr>
        <p:sp>
          <p:nvSpPr>
            <p:cNvPr id="5" name="Forme libre : forme 4">
              <a:extLst>
                <a:ext uri="{FF2B5EF4-FFF2-40B4-BE49-F238E27FC236}">
                  <a16:creationId xmlns:a16="http://schemas.microsoft.com/office/drawing/2014/main" id="{6B6B7BA7-97FB-ED9D-4BD1-0AF93D410559}"/>
                </a:ext>
              </a:extLst>
            </p:cNvPr>
            <p:cNvSpPr/>
            <p:nvPr/>
          </p:nvSpPr>
          <p:spPr>
            <a:xfrm>
              <a:off x="9851866" y="3342"/>
              <a:ext cx="2317542" cy="2722337"/>
            </a:xfrm>
            <a:custGeom>
              <a:avLst/>
              <a:gdLst>
                <a:gd name="connsiteX0" fmla="*/ 0 w 2317542"/>
                <a:gd name="connsiteY0" fmla="*/ 1552444 h 2722337"/>
                <a:gd name="connsiteX1" fmla="*/ 711734 w 2317542"/>
                <a:gd name="connsiteY1" fmla="*/ 2722338 h 2722337"/>
                <a:gd name="connsiteX2" fmla="*/ 2317543 w 2317542"/>
                <a:gd name="connsiteY2" fmla="*/ 0 h 2722337"/>
                <a:gd name="connsiteX3" fmla="*/ 1026971 w 2317542"/>
                <a:gd name="connsiteY3" fmla="*/ 0 h 2722337"/>
                <a:gd name="connsiteX4" fmla="*/ 0 w 2317542"/>
                <a:gd name="connsiteY4" fmla="*/ 1552444 h 272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7542" h="2722337">
                  <a:moveTo>
                    <a:pt x="0" y="1552444"/>
                  </a:moveTo>
                  <a:lnTo>
                    <a:pt x="711734" y="2722338"/>
                  </a:lnTo>
                  <a:lnTo>
                    <a:pt x="2317543" y="0"/>
                  </a:lnTo>
                  <a:lnTo>
                    <a:pt x="1026971" y="0"/>
                  </a:lnTo>
                  <a:lnTo>
                    <a:pt x="0" y="1552444"/>
                  </a:lnTo>
                  <a:close/>
                </a:path>
              </a:pathLst>
            </a:custGeom>
            <a:solidFill>
              <a:schemeClr val="accent2"/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" name="Forme libre : forme 5">
              <a:extLst>
                <a:ext uri="{FF2B5EF4-FFF2-40B4-BE49-F238E27FC236}">
                  <a16:creationId xmlns:a16="http://schemas.microsoft.com/office/drawing/2014/main" id="{4FA865AF-9632-7D8B-EC03-B49B9396D8A1}"/>
                </a:ext>
              </a:extLst>
            </p:cNvPr>
            <p:cNvSpPr/>
            <p:nvPr/>
          </p:nvSpPr>
          <p:spPr>
            <a:xfrm>
              <a:off x="6235107" y="-5123"/>
              <a:ext cx="3710580" cy="6869295"/>
            </a:xfrm>
            <a:custGeom>
              <a:avLst/>
              <a:gdLst>
                <a:gd name="connsiteX0" fmla="*/ 1395113 w 3710580"/>
                <a:gd name="connsiteY0" fmla="*/ 0 h 6869295"/>
                <a:gd name="connsiteX1" fmla="*/ 0 w 3710580"/>
                <a:gd name="connsiteY1" fmla="*/ 0 h 6869295"/>
                <a:gd name="connsiteX2" fmla="*/ 2420009 w 3710580"/>
                <a:gd name="connsiteY2" fmla="*/ 3821462 h 6869295"/>
                <a:gd name="connsiteX3" fmla="*/ 2420009 w 3710580"/>
                <a:gd name="connsiteY3" fmla="*/ 6869296 h 6869295"/>
                <a:gd name="connsiteX4" fmla="*/ 3710581 w 3710580"/>
                <a:gd name="connsiteY4" fmla="*/ 6869296 h 6869295"/>
                <a:gd name="connsiteX5" fmla="*/ 3710581 w 3710580"/>
                <a:gd name="connsiteY5" fmla="*/ 3802444 h 6869295"/>
                <a:gd name="connsiteX6" fmla="*/ 3259797 w 3710580"/>
                <a:gd name="connsiteY6" fmla="*/ 3117797 h 6869295"/>
                <a:gd name="connsiteX7" fmla="*/ 1395113 w 3710580"/>
                <a:gd name="connsiteY7" fmla="*/ 0 h 686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0580" h="6869295">
                  <a:moveTo>
                    <a:pt x="1395113" y="0"/>
                  </a:moveTo>
                  <a:lnTo>
                    <a:pt x="0" y="0"/>
                  </a:lnTo>
                  <a:lnTo>
                    <a:pt x="2420009" y="3821462"/>
                  </a:lnTo>
                  <a:lnTo>
                    <a:pt x="2420009" y="6869296"/>
                  </a:lnTo>
                  <a:lnTo>
                    <a:pt x="3710581" y="6869296"/>
                  </a:lnTo>
                  <a:lnTo>
                    <a:pt x="3710581" y="3802444"/>
                  </a:lnTo>
                  <a:lnTo>
                    <a:pt x="3259797" y="3117797"/>
                  </a:lnTo>
                  <a:lnTo>
                    <a:pt x="1395113" y="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chemeClr val="accent6"/>
                </a:solidFill>
              </a:endParaRPr>
            </a:p>
          </p:txBody>
        </p:sp>
      </p:grpSp>
      <p:pic>
        <p:nvPicPr>
          <p:cNvPr id="11" name="Graphique 10">
            <a:extLst>
              <a:ext uri="{FF2B5EF4-FFF2-40B4-BE49-F238E27FC236}">
                <a16:creationId xmlns:a16="http://schemas.microsoft.com/office/drawing/2014/main" id="{DA5D9B32-D116-049A-4F1A-9CA05D7B03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8726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foncé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07A6A2E-6BFB-29DF-760F-609BEFA824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08311"/>
            <a:ext cx="10515600" cy="50004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3BEFE39F-8226-3486-AE23-2FF1B2C3DA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1880B-3BD2-4D46-86DE-80DEBA91BDAA}" type="datetime1">
              <a:rPr lang="fr-FR" smtClean="0"/>
              <a:t>16/09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6A68D91E-4C3D-1BED-DF35-AEFDE479F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DF52FC7-03BE-DE98-20D7-D4F83BB8E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AD4D94F-3731-DAE5-6E37-D119A8E73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1493048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fin">
    <p:bg>
      <p:bgPr>
        <a:gradFill>
          <a:gsLst>
            <a:gs pos="0">
              <a:schemeClr val="accent3"/>
            </a:gs>
            <a:gs pos="60000">
              <a:schemeClr val="bg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que 3">
            <a:extLst>
              <a:ext uri="{FF2B5EF4-FFF2-40B4-BE49-F238E27FC236}">
                <a16:creationId xmlns:a16="http://schemas.microsoft.com/office/drawing/2014/main" id="{DF7C5155-DE1B-6DE4-6C0B-1863AC3517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76064" y="1377512"/>
            <a:ext cx="2695575" cy="561975"/>
          </a:xfrm>
          <a:prstGeom prst="rect">
            <a:avLst/>
          </a:prstGeom>
        </p:spPr>
      </p:pic>
      <p:sp>
        <p:nvSpPr>
          <p:cNvPr id="16" name="TextBox 5">
            <a:extLst>
              <a:ext uri="{FF2B5EF4-FFF2-40B4-BE49-F238E27FC236}">
                <a16:creationId xmlns:a16="http://schemas.microsoft.com/office/drawing/2014/main" id="{2F10693A-20A4-9741-32F5-BCCAA9E5436E}"/>
              </a:ext>
            </a:extLst>
          </p:cNvPr>
          <p:cNvSpPr txBox="1"/>
          <p:nvPr userDrawn="1"/>
        </p:nvSpPr>
        <p:spPr>
          <a:xfrm>
            <a:off x="1749883" y="3108159"/>
            <a:ext cx="2160000" cy="692497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 dirty="0">
                <a:solidFill>
                  <a:srgbClr val="FFFFFF"/>
                </a:solidFill>
                <a:latin typeface="Avenir Next LT Pro" panose="020B0504020202020204" pitchFamily="34" charset="0"/>
              </a:rPr>
              <a:t>6 rue </a:t>
            </a:r>
            <a:r>
              <a:rPr lang="en-US" sz="2000" dirty="0" err="1">
                <a:solidFill>
                  <a:srgbClr val="FFFFFF"/>
                </a:solidFill>
                <a:latin typeface="Avenir Next LT Pro" panose="020B0504020202020204" pitchFamily="34" charset="0"/>
              </a:rPr>
              <a:t>d’Antin</a:t>
            </a:r>
            <a:endParaRPr lang="en-US" sz="2000" dirty="0">
              <a:solidFill>
                <a:srgbClr val="FFFFFF"/>
              </a:solidFill>
              <a:latin typeface="Avenir Next LT Pro" panose="020B0504020202020204" pitchFamily="34" charset="0"/>
            </a:endParaRPr>
          </a:p>
          <a:p>
            <a:pPr marL="0" lvl="0" indent="0" algn="l">
              <a:lnSpc>
                <a:spcPct val="100000"/>
              </a:lnSpc>
              <a:spcBef>
                <a:spcPts val="600"/>
              </a:spcBef>
            </a:pPr>
            <a:r>
              <a:rPr lang="en-US" sz="2000" dirty="0">
                <a:solidFill>
                  <a:srgbClr val="FFFFFF"/>
                </a:solidFill>
                <a:latin typeface="Avenir Next LT Pro" panose="020B0504020202020204" pitchFamily="34" charset="0"/>
              </a:rPr>
              <a:t>75002, Paris</a:t>
            </a:r>
          </a:p>
        </p:txBody>
      </p:sp>
      <p:sp>
        <p:nvSpPr>
          <p:cNvPr id="17" name="TextBox 7">
            <a:extLst>
              <a:ext uri="{FF2B5EF4-FFF2-40B4-BE49-F238E27FC236}">
                <a16:creationId xmlns:a16="http://schemas.microsoft.com/office/drawing/2014/main" id="{7B159DE9-4CCD-22E2-867B-2C3677529FA4}"/>
              </a:ext>
            </a:extLst>
          </p:cNvPr>
          <p:cNvSpPr txBox="1"/>
          <p:nvPr userDrawn="1"/>
        </p:nvSpPr>
        <p:spPr>
          <a:xfrm>
            <a:off x="4525742" y="3108159"/>
            <a:ext cx="2160000" cy="692497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>
            <a:defPPr>
              <a:defRPr lang="fr-FR"/>
            </a:defPPr>
            <a:lvl1pPr>
              <a:lnSpc>
                <a:spcPct val="100000"/>
              </a:lnSpc>
              <a:spcBef>
                <a:spcPts val="600"/>
              </a:spcBef>
              <a:defRPr sz="2000">
                <a:solidFill>
                  <a:srgbClr val="FFFFFF"/>
                </a:solidFill>
                <a:latin typeface="Avenir Next LT Pro" panose="020B0504020202020204" pitchFamily="34" charset="0"/>
              </a:defRPr>
            </a:lvl1pPr>
          </a:lstStyle>
          <a:p>
            <a:pPr lvl="0"/>
            <a:r>
              <a:rPr lang="en-US" dirty="0"/>
              <a:t>41 </a:t>
            </a:r>
            <a:r>
              <a:rPr lang="en-US" dirty="0" err="1"/>
              <a:t>quai</a:t>
            </a:r>
            <a:r>
              <a:rPr lang="en-US" dirty="0"/>
              <a:t> </a:t>
            </a:r>
            <a:r>
              <a:rPr lang="en-US" dirty="0" err="1"/>
              <a:t>Fulchiron</a:t>
            </a:r>
            <a:endParaRPr lang="en-US" dirty="0"/>
          </a:p>
          <a:p>
            <a:pPr lvl="0"/>
            <a:r>
              <a:rPr lang="en-US" dirty="0"/>
              <a:t>69005, Lyon</a:t>
            </a:r>
          </a:p>
        </p:txBody>
      </p:sp>
      <p:sp>
        <p:nvSpPr>
          <p:cNvPr id="18" name="TextBox 10">
            <a:extLst>
              <a:ext uri="{FF2B5EF4-FFF2-40B4-BE49-F238E27FC236}">
                <a16:creationId xmlns:a16="http://schemas.microsoft.com/office/drawing/2014/main" id="{7F27A1CE-682E-7621-A1D2-A2EC4E091CC6}"/>
              </a:ext>
            </a:extLst>
          </p:cNvPr>
          <p:cNvSpPr txBox="1"/>
          <p:nvPr userDrawn="1"/>
        </p:nvSpPr>
        <p:spPr>
          <a:xfrm>
            <a:off x="7769745" y="3108159"/>
            <a:ext cx="3600000" cy="69249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fr-FR"/>
            </a:defPPr>
            <a:lvl1pPr lvl="0">
              <a:lnSpc>
                <a:spcPct val="100000"/>
              </a:lnSpc>
              <a:spcBef>
                <a:spcPts val="600"/>
              </a:spcBef>
              <a:defRPr sz="2000">
                <a:solidFill>
                  <a:srgbClr val="FFFFFF"/>
                </a:solidFill>
                <a:latin typeface="Avenir Next LT Pro" panose="020B0504020202020204" pitchFamily="34" charset="0"/>
              </a:defRPr>
            </a:lvl1pPr>
          </a:lstStyle>
          <a:p>
            <a:pPr lvl="0"/>
            <a:r>
              <a:rPr lang="en-US" dirty="0" err="1"/>
              <a:t>Tél</a:t>
            </a:r>
            <a:r>
              <a:rPr lang="en-US" dirty="0"/>
              <a:t> : +33 (0) 1 55 35 36 36</a:t>
            </a:r>
          </a:p>
          <a:p>
            <a:pPr lvl="0"/>
            <a:r>
              <a:rPr lang="en-US" dirty="0"/>
              <a:t>Mail : </a:t>
            </a:r>
            <a:r>
              <a:rPr lang="en-US" dirty="0" err="1"/>
              <a:t>contact@infhotep.com</a:t>
            </a:r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B59BF02-9650-4AEA-2AC6-1AA10BECA965}"/>
              </a:ext>
            </a:extLst>
          </p:cNvPr>
          <p:cNvSpPr/>
          <p:nvPr userDrawn="1"/>
        </p:nvSpPr>
        <p:spPr>
          <a:xfrm rot="16200000">
            <a:off x="1021179" y="3361428"/>
            <a:ext cx="857790" cy="1859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latin typeface="Avenir Next LT Pro" panose="020B05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1115A8D-A879-3457-238E-FD3AF1CC6DE0}"/>
              </a:ext>
            </a:extLst>
          </p:cNvPr>
          <p:cNvSpPr/>
          <p:nvPr userDrawn="1"/>
        </p:nvSpPr>
        <p:spPr>
          <a:xfrm rot="16200000">
            <a:off x="3797037" y="3361428"/>
            <a:ext cx="857790" cy="1859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latin typeface="Avenir Next LT Pro" panose="020B05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05B51C9-5C00-0CB0-9751-DBDC3369769E}"/>
              </a:ext>
            </a:extLst>
          </p:cNvPr>
          <p:cNvSpPr/>
          <p:nvPr userDrawn="1"/>
        </p:nvSpPr>
        <p:spPr>
          <a:xfrm rot="16200000">
            <a:off x="7088287" y="3361427"/>
            <a:ext cx="857790" cy="1859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latin typeface="Avenir Next LT Pro" panose="020B0504020202020204" pitchFamily="34" charset="0"/>
            </a:endParaRPr>
          </a:p>
        </p:txBody>
      </p:sp>
      <p:pic>
        <p:nvPicPr>
          <p:cNvPr id="24" name="Graphique 23">
            <a:hlinkClick r:id="rId4"/>
            <a:extLst>
              <a:ext uri="{FF2B5EF4-FFF2-40B4-BE49-F238E27FC236}">
                <a16:creationId xmlns:a16="http://schemas.microsoft.com/office/drawing/2014/main" id="{DECC1BD6-C4B4-996C-D4C1-C825345297B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18632" y="5576025"/>
            <a:ext cx="540000" cy="540000"/>
          </a:xfrm>
          <a:prstGeom prst="rect">
            <a:avLst/>
          </a:prstGeom>
        </p:spPr>
      </p:pic>
      <p:pic>
        <p:nvPicPr>
          <p:cNvPr id="30" name="Graphique 29">
            <a:hlinkClick r:id="rId7"/>
            <a:extLst>
              <a:ext uri="{FF2B5EF4-FFF2-40B4-BE49-F238E27FC236}">
                <a16:creationId xmlns:a16="http://schemas.microsoft.com/office/drawing/2014/main" id="{A2A1DB17-44F3-CB03-1E47-491FDFC8C8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01881" y="5576025"/>
            <a:ext cx="540000" cy="540000"/>
          </a:xfrm>
          <a:prstGeom prst="rect">
            <a:avLst/>
          </a:prstGeom>
        </p:spPr>
      </p:pic>
      <p:grpSp>
        <p:nvGrpSpPr>
          <p:cNvPr id="33" name="Groupe 32">
            <a:extLst>
              <a:ext uri="{FF2B5EF4-FFF2-40B4-BE49-F238E27FC236}">
                <a16:creationId xmlns:a16="http://schemas.microsoft.com/office/drawing/2014/main" id="{21AB903A-1203-756C-276E-75FB9EFD4374}"/>
              </a:ext>
            </a:extLst>
          </p:cNvPr>
          <p:cNvGrpSpPr/>
          <p:nvPr userDrawn="1"/>
        </p:nvGrpSpPr>
        <p:grpSpPr>
          <a:xfrm>
            <a:off x="4985130" y="5576025"/>
            <a:ext cx="540000" cy="540000"/>
            <a:chOff x="5742237" y="5062353"/>
            <a:chExt cx="540000" cy="540000"/>
          </a:xfrm>
        </p:grpSpPr>
        <p:sp>
          <p:nvSpPr>
            <p:cNvPr id="31" name="Ellipse 30">
              <a:hlinkClick r:id="rId10"/>
              <a:extLst>
                <a:ext uri="{FF2B5EF4-FFF2-40B4-BE49-F238E27FC236}">
                  <a16:creationId xmlns:a16="http://schemas.microsoft.com/office/drawing/2014/main" id="{50985D82-B1C9-9397-5C75-D8DE8A371496}"/>
                </a:ext>
              </a:extLst>
            </p:cNvPr>
            <p:cNvSpPr/>
            <p:nvPr userDrawn="1"/>
          </p:nvSpPr>
          <p:spPr>
            <a:xfrm>
              <a:off x="5742237" y="5062353"/>
              <a:ext cx="540000" cy="540000"/>
            </a:xfrm>
            <a:prstGeom prst="ellipse">
              <a:avLst/>
            </a:prstGeom>
            <a:solidFill>
              <a:srgbClr val="3963A4"/>
            </a:solidFill>
            <a:ln>
              <a:solidFill>
                <a:srgbClr val="3963A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8" name="Graphique 27">
              <a:extLst>
                <a:ext uri="{FF2B5EF4-FFF2-40B4-BE49-F238E27FC236}">
                  <a16:creationId xmlns:a16="http://schemas.microsoft.com/office/drawing/2014/main" id="{74EDF112-5728-C0BE-BE7E-CC904097D5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823598" y="5143714"/>
              <a:ext cx="377278" cy="377278"/>
            </a:xfrm>
            <a:prstGeom prst="rect">
              <a:avLst/>
            </a:prstGeom>
          </p:spPr>
        </p:pic>
      </p:grp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3D63626-F919-011E-D26C-3517B1D7F6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7F75-3F06-49A7-AE6E-361425FB8ADD}" type="datetime1">
              <a:rPr lang="fr-FR" smtClean="0"/>
              <a:t>16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EB9B35-CA5B-6420-97D9-74ECE303C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7EF70A6-CBBA-02B4-B370-9F4D172B3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Freeform 13">
            <a:hlinkClick r:id="rId13" tooltip="https://www.adequacy.app"/>
            <a:extLst>
              <a:ext uri="{FF2B5EF4-FFF2-40B4-BE49-F238E27FC236}">
                <a16:creationId xmlns:a16="http://schemas.microsoft.com/office/drawing/2014/main" id="{4A2EADD5-1F09-1B0B-6954-46FE70D21E0E}"/>
              </a:ext>
            </a:extLst>
          </p:cNvPr>
          <p:cNvSpPr/>
          <p:nvPr userDrawn="1"/>
        </p:nvSpPr>
        <p:spPr>
          <a:xfrm>
            <a:off x="7021602" y="8499440"/>
            <a:ext cx="825160" cy="825160"/>
          </a:xfrm>
          <a:custGeom>
            <a:avLst/>
            <a:gdLst/>
            <a:ahLst/>
            <a:cxnLst/>
            <a:rect l="l" t="t" r="r" b="b"/>
            <a:pathLst>
              <a:path w="825160" h="825160">
                <a:moveTo>
                  <a:pt x="0" y="0"/>
                </a:moveTo>
                <a:lnTo>
                  <a:pt x="825161" y="0"/>
                </a:lnTo>
                <a:lnTo>
                  <a:pt x="825161" y="825160"/>
                </a:lnTo>
                <a:lnTo>
                  <a:pt x="0" y="825160"/>
                </a:lnTo>
                <a:lnTo>
                  <a:pt x="0" y="0"/>
                </a:lnTo>
                <a:close/>
              </a:path>
            </a:pathLst>
          </a:custGeom>
          <a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fr-FR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528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EDC66AD-FC4C-5FE2-4DF8-C583514261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69987"/>
            <a:ext cx="5181600" cy="5006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BC270EB-5867-B947-29A6-E5A0CE8A53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69987"/>
            <a:ext cx="5181600" cy="5006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5E4AAB02-C9C3-8BC4-9013-73D96D9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5DB53-6758-47EE-9356-4C44CD158B45}" type="datetime1">
              <a:rPr lang="fr-FR" smtClean="0"/>
              <a:t>16/09/2024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4151D808-EADB-F900-D588-1F614158F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BD712D3F-999C-6A6D-C467-F34817B49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D421CFC-357C-1022-266A-123772C77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755173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6A8E8E2-2FE0-5378-9CE7-852698E53D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185864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1F05E4F-2B88-E7E2-C089-CC11FDBE4D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176463"/>
            <a:ext cx="5157787" cy="40132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9D2AA0A6-622E-A878-BA86-337197F6FB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185864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27EA474D-D53F-4D03-53A4-CF856664B3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176463"/>
            <a:ext cx="5183188" cy="40132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22160BCA-FD72-E15C-18A2-A6D682E34C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0F924-ADD4-4331-A1DA-D7538B0DE343}" type="datetime1">
              <a:rPr lang="fr-FR" smtClean="0"/>
              <a:t>16/09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80519E02-C0A2-BFAD-47DC-F4FC80E4E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808DC7A-E792-8FB1-F7F6-D163FBC73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A37C5830-D177-EA19-FDBD-26D5B66AD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611706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41D30F-5398-E327-214D-D09F2BC1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05EAD-AD0B-4702-93AA-C87A3886A96B}" type="datetime1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214D794-300F-632E-027C-98AE7B0E8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EA679E1-628A-F676-102C-CD9D89C11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0C2EE3E-D440-98D9-F506-25595FF92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139287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e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41D30F-5398-E327-214D-D09F2BC1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7CC72D-29A4-4F67-9624-A65588A95137}" type="datetime1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214D794-300F-632E-027C-98AE7B0E8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EA679E1-628A-F676-102C-CD9D89C11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20C2EE3E-D440-98D9-F506-25595FF92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84552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centré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41D30F-5398-E327-214D-D09F2BC1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A41DF-B7AE-44C8-9181-0E3C26D82F8E}" type="datetime1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214D794-300F-632E-027C-98AE7B0E8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EA679E1-628A-F676-102C-CD9D89C11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C864768-2CFF-864F-677B-04936BB43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9184039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centré seu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41D30F-5398-E327-214D-D09F2BC17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61A55-5A32-4A3B-B075-CEE772E87222}" type="datetime1">
              <a:rPr lang="fr-FR" smtClean="0"/>
              <a:t>16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214D794-300F-632E-027C-98AE7B0E8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EA679E1-628A-F676-102C-CD9D89C11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C864768-2CFF-864F-677B-04936BB43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724695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F216EAF-F89D-01A4-2470-E2E4016C6A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1E87D2-E267-4F1C-8A49-D069FB4E0CE3}" type="datetime1">
              <a:rPr lang="fr-FR" smtClean="0"/>
              <a:t>16/09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67302A4-731F-22AE-4A18-33E31D4A1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950F7C6-2DB2-B6F1-A939-DEAE88373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37484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F216EAF-F89D-01A4-2470-E2E4016C6A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18F0A-1257-4854-99E7-1D816FA63B8C}" type="datetime1">
              <a:rPr lang="fr-FR" smtClean="0"/>
              <a:t>16/09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67302A4-731F-22AE-4A18-33E31D4A1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950F7C6-2DB2-B6F1-A939-DEAE88373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2348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9FF637-B271-967B-4B9F-042DC5BEB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3600"/>
            <a:ext cx="3932237" cy="626400"/>
          </a:xfrm>
        </p:spPr>
        <p:txBody>
          <a:bodyPr anchor="b"/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A206E92-E52A-0BBE-DB00-9D1C45446D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363600"/>
            <a:ext cx="6172200" cy="58464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849A77F-0AFC-AFC6-13E6-401351931C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209600"/>
            <a:ext cx="3932237" cy="50004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BF4D0DA-6CB3-7881-3386-A80C6CA62D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35943-0B6C-401D-9757-70C962B0ED99}" type="datetime1">
              <a:rPr lang="fr-FR" smtClean="0"/>
              <a:t>16/09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966005A-0998-FAEA-3CE9-8B1CB9D9F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12C85CD-0803-C4E3-864C-49DC3786D4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31944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gradFill flip="none" rotWithShape="1">
          <a:gsLst>
            <a:gs pos="0">
              <a:schemeClr val="accent3"/>
            </a:gs>
            <a:gs pos="60000">
              <a:schemeClr val="bg2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B2791E9-C8B4-B910-D76F-DA2026C7A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1456" y="2902347"/>
            <a:ext cx="6789555" cy="1666875"/>
          </a:xfr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0FC77EB-730C-8183-F909-611B426354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61456" y="4702629"/>
            <a:ext cx="6789555" cy="1387021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A4D308A-2401-22A9-347B-156AF47632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630" y="2902384"/>
            <a:ext cx="1207634" cy="1666800"/>
          </a:xfrm>
        </p:spPr>
        <p:txBody>
          <a:bodyPr anchor="ctr">
            <a:normAutofit/>
          </a:bodyPr>
          <a:lstStyle>
            <a:lvl1pPr marL="0" indent="0" algn="r">
              <a:buNone/>
              <a:defRPr sz="5400" b="1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FD0170AC-3B13-23DE-EE6A-56D6F14983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CFC898-8E5B-4D54-AA0D-2FDD0A3421ED}" type="datetime1">
              <a:rPr lang="fr-FR" smtClean="0"/>
              <a:t>16/09/2024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D3007904-7853-08FF-A8E0-4A17493C47A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B18DE300-EB44-9567-2871-C814B5A6FF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0067F0A5-0706-3F4D-B8A3-4E61D3FBEDDF}"/>
              </a:ext>
            </a:extLst>
          </p:cNvPr>
          <p:cNvGrpSpPr/>
          <p:nvPr userDrawn="1"/>
        </p:nvGrpSpPr>
        <p:grpSpPr>
          <a:xfrm>
            <a:off x="6235107" y="-5123"/>
            <a:ext cx="5934301" cy="6869295"/>
            <a:chOff x="6235107" y="-5123"/>
            <a:chExt cx="5934301" cy="6869295"/>
          </a:xfrm>
        </p:grpSpPr>
        <p:sp>
          <p:nvSpPr>
            <p:cNvPr id="5" name="Forme libre : forme 4">
              <a:extLst>
                <a:ext uri="{FF2B5EF4-FFF2-40B4-BE49-F238E27FC236}">
                  <a16:creationId xmlns:a16="http://schemas.microsoft.com/office/drawing/2014/main" id="{6B6B7BA7-97FB-ED9D-4BD1-0AF93D410559}"/>
                </a:ext>
              </a:extLst>
            </p:cNvPr>
            <p:cNvSpPr/>
            <p:nvPr/>
          </p:nvSpPr>
          <p:spPr>
            <a:xfrm>
              <a:off x="9851866" y="3342"/>
              <a:ext cx="2317542" cy="2722337"/>
            </a:xfrm>
            <a:custGeom>
              <a:avLst/>
              <a:gdLst>
                <a:gd name="connsiteX0" fmla="*/ 0 w 2317542"/>
                <a:gd name="connsiteY0" fmla="*/ 1552444 h 2722337"/>
                <a:gd name="connsiteX1" fmla="*/ 711734 w 2317542"/>
                <a:gd name="connsiteY1" fmla="*/ 2722338 h 2722337"/>
                <a:gd name="connsiteX2" fmla="*/ 2317543 w 2317542"/>
                <a:gd name="connsiteY2" fmla="*/ 0 h 2722337"/>
                <a:gd name="connsiteX3" fmla="*/ 1026971 w 2317542"/>
                <a:gd name="connsiteY3" fmla="*/ 0 h 2722337"/>
                <a:gd name="connsiteX4" fmla="*/ 0 w 2317542"/>
                <a:gd name="connsiteY4" fmla="*/ 1552444 h 272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7542" h="2722337">
                  <a:moveTo>
                    <a:pt x="0" y="1552444"/>
                  </a:moveTo>
                  <a:lnTo>
                    <a:pt x="711734" y="2722338"/>
                  </a:lnTo>
                  <a:lnTo>
                    <a:pt x="2317543" y="0"/>
                  </a:lnTo>
                  <a:lnTo>
                    <a:pt x="1026971" y="0"/>
                  </a:lnTo>
                  <a:lnTo>
                    <a:pt x="0" y="1552444"/>
                  </a:lnTo>
                  <a:close/>
                </a:path>
              </a:pathLst>
            </a:custGeom>
            <a:solidFill>
              <a:schemeClr val="accent2"/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6" name="Forme libre : forme 5">
              <a:extLst>
                <a:ext uri="{FF2B5EF4-FFF2-40B4-BE49-F238E27FC236}">
                  <a16:creationId xmlns:a16="http://schemas.microsoft.com/office/drawing/2014/main" id="{4FA865AF-9632-7D8B-EC03-B49B9396D8A1}"/>
                </a:ext>
              </a:extLst>
            </p:cNvPr>
            <p:cNvSpPr/>
            <p:nvPr/>
          </p:nvSpPr>
          <p:spPr>
            <a:xfrm>
              <a:off x="6235107" y="-5123"/>
              <a:ext cx="3710580" cy="6869295"/>
            </a:xfrm>
            <a:custGeom>
              <a:avLst/>
              <a:gdLst>
                <a:gd name="connsiteX0" fmla="*/ 1395113 w 3710580"/>
                <a:gd name="connsiteY0" fmla="*/ 0 h 6869295"/>
                <a:gd name="connsiteX1" fmla="*/ 0 w 3710580"/>
                <a:gd name="connsiteY1" fmla="*/ 0 h 6869295"/>
                <a:gd name="connsiteX2" fmla="*/ 2420009 w 3710580"/>
                <a:gd name="connsiteY2" fmla="*/ 3821462 h 6869295"/>
                <a:gd name="connsiteX3" fmla="*/ 2420009 w 3710580"/>
                <a:gd name="connsiteY3" fmla="*/ 6869296 h 6869295"/>
                <a:gd name="connsiteX4" fmla="*/ 3710581 w 3710580"/>
                <a:gd name="connsiteY4" fmla="*/ 6869296 h 6869295"/>
                <a:gd name="connsiteX5" fmla="*/ 3710581 w 3710580"/>
                <a:gd name="connsiteY5" fmla="*/ 3802444 h 6869295"/>
                <a:gd name="connsiteX6" fmla="*/ 3259797 w 3710580"/>
                <a:gd name="connsiteY6" fmla="*/ 3117797 h 6869295"/>
                <a:gd name="connsiteX7" fmla="*/ 1395113 w 3710580"/>
                <a:gd name="connsiteY7" fmla="*/ 0 h 686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0580" h="6869295">
                  <a:moveTo>
                    <a:pt x="1395113" y="0"/>
                  </a:moveTo>
                  <a:lnTo>
                    <a:pt x="0" y="0"/>
                  </a:lnTo>
                  <a:lnTo>
                    <a:pt x="2420009" y="3821462"/>
                  </a:lnTo>
                  <a:lnTo>
                    <a:pt x="2420009" y="6869296"/>
                  </a:lnTo>
                  <a:lnTo>
                    <a:pt x="3710581" y="6869296"/>
                  </a:lnTo>
                  <a:lnTo>
                    <a:pt x="3710581" y="3802444"/>
                  </a:lnTo>
                  <a:lnTo>
                    <a:pt x="3259797" y="3117797"/>
                  </a:lnTo>
                  <a:lnTo>
                    <a:pt x="1395113" y="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>
                <a:solidFill>
                  <a:schemeClr val="accent6"/>
                </a:solidFill>
              </a:endParaRPr>
            </a:p>
          </p:txBody>
        </p:sp>
      </p:grpSp>
      <p:pic>
        <p:nvPicPr>
          <p:cNvPr id="11" name="Graphique 10">
            <a:extLst>
              <a:ext uri="{FF2B5EF4-FFF2-40B4-BE49-F238E27FC236}">
                <a16:creationId xmlns:a16="http://schemas.microsoft.com/office/drawing/2014/main" id="{DA5D9B32-D116-049A-4F1A-9CA05D7B03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9350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31A2DE4-19D7-3C32-6A57-FED9CD37C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3600"/>
            <a:ext cx="4788126" cy="626400"/>
          </a:xfrm>
        </p:spPr>
        <p:txBody>
          <a:bodyPr anchor="b"/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9F09781-933C-B205-4627-784E94F8AC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943600" y="363600"/>
            <a:ext cx="5411788" cy="58463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89E4F77-5157-EADA-0204-C9BEEA7D63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209599"/>
            <a:ext cx="4788126" cy="50004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6D18D1E-3FAA-BE1E-4984-66DDD60CB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688EF-CFA4-4094-A9E9-814D6A8F51C6}" type="datetime1">
              <a:rPr lang="fr-FR" smtClean="0"/>
              <a:t>16/09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694EE2E-9869-8EFB-1B6C-6D615ED855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FA0FE0B-808D-4CA2-71FC-677610E5BB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31666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bg>
      <p:bgPr>
        <a:gradFill>
          <a:gsLst>
            <a:gs pos="0">
              <a:schemeClr val="accent3"/>
            </a:gs>
            <a:gs pos="60000">
              <a:schemeClr val="bg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58189F59-0199-C82D-3264-D461207565A8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31A2DE4-19D7-3C32-6A57-FED9CD37C2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3600"/>
            <a:ext cx="4789714" cy="626400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r le titre du sommai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89E4F77-5157-EADA-0204-C9BEEA7D63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8200" y="1209599"/>
            <a:ext cx="4789714" cy="5000400"/>
          </a:xfrm>
        </p:spPr>
        <p:txBody>
          <a:bodyPr vert="horz" lIns="91440" tIns="45720" rIns="91440" bIns="45720" rtlCol="0">
            <a:normAutofit/>
          </a:bodyPr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 lang="fr-FR" dirty="0">
                <a:solidFill>
                  <a:schemeClr val="bg1"/>
                </a:solidFill>
              </a:defRPr>
            </a:lvl1pPr>
            <a:lvl2pPr marL="809625" indent="-285750">
              <a:buFont typeface="Avenir Next LT Pro" panose="020B0504020202020204" pitchFamily="34" charset="0"/>
              <a:buChar char="–"/>
              <a:defRPr>
                <a:solidFill>
                  <a:schemeClr val="bg1"/>
                </a:solidFill>
              </a:defRPr>
            </a:lvl2pPr>
            <a:lvl3pPr marL="1166813" indent="-228600"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64B7265D-ED92-BE7B-3CE3-38B7829CC0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1C9E5113-AE69-DA2F-E956-E78B5F3D33FF}"/>
              </a:ext>
            </a:extLst>
          </p:cNvPr>
          <p:cNvCxnSpPr/>
          <p:nvPr userDrawn="1"/>
        </p:nvCxnSpPr>
        <p:spPr>
          <a:xfrm>
            <a:off x="11366720" y="6356350"/>
            <a:ext cx="0" cy="50165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e la date 21">
            <a:extLst>
              <a:ext uri="{FF2B5EF4-FFF2-40B4-BE49-F238E27FC236}">
                <a16:creationId xmlns:a16="http://schemas.microsoft.com/office/drawing/2014/main" id="{12FD9377-F4A8-D94C-8290-57A044548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DCDB8-75A3-4AB5-9FBD-291896B3415E}" type="datetime1">
              <a:rPr lang="fr-FR" smtClean="0"/>
              <a:t>16/09/2024</a:t>
            </a:fld>
            <a:endParaRPr lang="fr-FR"/>
          </a:p>
        </p:txBody>
      </p:sp>
      <p:sp>
        <p:nvSpPr>
          <p:cNvPr id="23" name="Espace réservé du pied de page 22">
            <a:extLst>
              <a:ext uri="{FF2B5EF4-FFF2-40B4-BE49-F238E27FC236}">
                <a16:creationId xmlns:a16="http://schemas.microsoft.com/office/drawing/2014/main" id="{512D201B-BDB4-3F7E-E29E-DA37D4AF76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24" name="Espace réservé du numéro de diapositive 23">
            <a:extLst>
              <a:ext uri="{FF2B5EF4-FFF2-40B4-BE49-F238E27FC236}">
                <a16:creationId xmlns:a16="http://schemas.microsoft.com/office/drawing/2014/main" id="{86261BF8-EEF6-AFB1-BD57-C934BE279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9611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CF3A326F-4D19-62DA-939B-E18E8990E8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7B8C648-EDED-CC3A-09F4-00F0ADB848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13184-D40E-4A80-8F36-C40139F21B19}" type="datetime1">
              <a:rPr lang="fr-FR" smtClean="0"/>
              <a:t>16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146239B-B002-B2BE-FD3D-74F817D0B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B99D0CA-399E-BBC7-72C8-FF8139B67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D0C67873-4237-4EA5-4EAB-69FEE7055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166873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5B311981-AD15-9AA5-4398-74002F9408E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C43AAA67-A855-4521-C83A-3F75F97E4F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84EF9C5-DC83-F807-3161-A1A00195E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D52F4B-E641-4114-A079-4583A6BEA09B}" type="datetime1">
              <a:rPr lang="fr-FR" smtClean="0"/>
              <a:t>16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574D721-CB68-075E-92AA-E4E0C0FB58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7307D0B-023B-EEA4-1891-6889D811F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08495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16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2483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">
            <a:extLst>
              <a:ext uri="{FF2B5EF4-FFF2-40B4-BE49-F238E27FC236}">
                <a16:creationId xmlns:a16="http://schemas.microsoft.com/office/drawing/2014/main" id="{BF47C6FA-BEAF-4535-B137-B29E139E09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fr-FR" dirty="0"/>
              <a:t>Cliquer ici pour ajouter un titre</a:t>
            </a:r>
          </a:p>
        </p:txBody>
      </p:sp>
      <p:sp>
        <p:nvSpPr>
          <p:cNvPr id="32" name="Sous-titre">
            <a:extLst>
              <a:ext uri="{FF2B5EF4-FFF2-40B4-BE49-F238E27FC236}">
                <a16:creationId xmlns:a16="http://schemas.microsoft.com/office/drawing/2014/main" id="{CB865D07-4B59-4A0A-BD3A-4E45ED991D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2" y="990600"/>
            <a:ext cx="11340000" cy="72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z="1600" dirty="0"/>
            </a:lvl1pPr>
          </a:lstStyle>
          <a:p>
            <a:pPr lvl="0"/>
            <a:r>
              <a:rPr lang="fr-FR" dirty="0"/>
              <a:t>Cliquez pour modifier le contenu du chapô</a:t>
            </a:r>
          </a:p>
        </p:txBody>
      </p:sp>
      <p:sp>
        <p:nvSpPr>
          <p:cNvPr id="30" name="Contenu">
            <a:extLst>
              <a:ext uri="{FF2B5EF4-FFF2-40B4-BE49-F238E27FC236}">
                <a16:creationId xmlns:a16="http://schemas.microsoft.com/office/drawing/2014/main" id="{1445C0CD-01AA-4FBD-BCF7-7831BAD1AD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913" y="1828800"/>
            <a:ext cx="11340000" cy="468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  <a:lvl2pPr marL="228600" indent="-228600">
              <a:defRPr/>
            </a:lvl2pPr>
          </a:lstStyle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28726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s_simple_car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8BE68DD-BB45-A94E-ABD9-6710B18C308E}"/>
              </a:ext>
            </a:extLst>
          </p:cNvPr>
          <p:cNvSpPr/>
          <p:nvPr userDrawn="1"/>
        </p:nvSpPr>
        <p:spPr>
          <a:xfrm>
            <a:off x="9067800" y="1828800"/>
            <a:ext cx="2711081" cy="46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3A86B63E-541D-2940-8244-E2DD89C89D86}"/>
              </a:ext>
            </a:extLst>
          </p:cNvPr>
          <p:cNvGrpSpPr/>
          <p:nvPr userDrawn="1"/>
        </p:nvGrpSpPr>
        <p:grpSpPr>
          <a:xfrm>
            <a:off x="10586677" y="404578"/>
            <a:ext cx="1055804" cy="190542"/>
            <a:chOff x="213360" y="1621472"/>
            <a:chExt cx="11823193" cy="2133748"/>
          </a:xfrm>
        </p:grpSpPr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055746BB-9CC5-BC46-AB94-4B456FE255D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3360" y="1659233"/>
              <a:ext cx="1963250" cy="2095987"/>
            </a:xfrm>
            <a:prstGeom prst="line">
              <a:avLst/>
            </a:prstGeom>
            <a:ln w="508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eur droit 10">
              <a:extLst>
                <a:ext uri="{FF2B5EF4-FFF2-40B4-BE49-F238E27FC236}">
                  <a16:creationId xmlns:a16="http://schemas.microsoft.com/office/drawing/2014/main" id="{AEE1999F-E7D3-FB49-937F-15B2D25BBB25}"/>
                </a:ext>
              </a:extLst>
            </p:cNvPr>
            <p:cNvCxnSpPr>
              <a:cxnSpLocks/>
            </p:cNvCxnSpPr>
            <p:nvPr/>
          </p:nvCxnSpPr>
          <p:spPr>
            <a:xfrm>
              <a:off x="2176610" y="1659233"/>
              <a:ext cx="1972057" cy="2077107"/>
            </a:xfrm>
            <a:prstGeom prst="line">
              <a:avLst/>
            </a:prstGeom>
            <a:ln w="508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B2ABC644-6F36-5A43-99E9-E402509BC6E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48667" y="1638405"/>
              <a:ext cx="1963250" cy="2095987"/>
            </a:xfrm>
            <a:prstGeom prst="line">
              <a:avLst/>
            </a:prstGeom>
            <a:ln w="508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>
              <a:extLst>
                <a:ext uri="{FF2B5EF4-FFF2-40B4-BE49-F238E27FC236}">
                  <a16:creationId xmlns:a16="http://schemas.microsoft.com/office/drawing/2014/main" id="{D10A7CE9-81FC-2D4A-8A2B-9018853614C8}"/>
                </a:ext>
              </a:extLst>
            </p:cNvPr>
            <p:cNvCxnSpPr>
              <a:cxnSpLocks/>
            </p:cNvCxnSpPr>
            <p:nvPr/>
          </p:nvCxnSpPr>
          <p:spPr>
            <a:xfrm>
              <a:off x="6111917" y="1638405"/>
              <a:ext cx="1972057" cy="2077107"/>
            </a:xfrm>
            <a:prstGeom prst="line">
              <a:avLst/>
            </a:prstGeom>
            <a:ln w="508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>
              <a:extLst>
                <a:ext uri="{FF2B5EF4-FFF2-40B4-BE49-F238E27FC236}">
                  <a16:creationId xmlns:a16="http://schemas.microsoft.com/office/drawing/2014/main" id="{2508A49A-62FB-8A4E-AFFE-A61CE087AE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01246" y="1621472"/>
              <a:ext cx="1963250" cy="2095987"/>
            </a:xfrm>
            <a:prstGeom prst="line">
              <a:avLst/>
            </a:prstGeom>
            <a:ln w="508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>
              <a:extLst>
                <a:ext uri="{FF2B5EF4-FFF2-40B4-BE49-F238E27FC236}">
                  <a16:creationId xmlns:a16="http://schemas.microsoft.com/office/drawing/2014/main" id="{163731D6-9A78-C741-AF48-6B70CF8D8302}"/>
                </a:ext>
              </a:extLst>
            </p:cNvPr>
            <p:cNvCxnSpPr>
              <a:cxnSpLocks/>
            </p:cNvCxnSpPr>
            <p:nvPr/>
          </p:nvCxnSpPr>
          <p:spPr>
            <a:xfrm>
              <a:off x="10064496" y="1621472"/>
              <a:ext cx="1972057" cy="2077107"/>
            </a:xfrm>
            <a:prstGeom prst="line">
              <a:avLst/>
            </a:prstGeom>
            <a:ln w="50800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re">
            <a:extLst>
              <a:ext uri="{FF2B5EF4-FFF2-40B4-BE49-F238E27FC236}">
                <a16:creationId xmlns:a16="http://schemas.microsoft.com/office/drawing/2014/main" id="{EA3C35CA-838B-438F-922A-95D42E3A75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r ici pour ajouter un titre</a:t>
            </a:r>
          </a:p>
        </p:txBody>
      </p:sp>
      <p:sp>
        <p:nvSpPr>
          <p:cNvPr id="5" name="Sous-titre">
            <a:extLst>
              <a:ext uri="{FF2B5EF4-FFF2-40B4-BE49-F238E27FC236}">
                <a16:creationId xmlns:a16="http://schemas.microsoft.com/office/drawing/2014/main" id="{03759385-995C-4A64-9E76-F90F622733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8881" y="994067"/>
            <a:ext cx="11340000" cy="720000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1600" dirty="0"/>
            </a:lvl1pPr>
          </a:lstStyle>
          <a:p>
            <a:pPr lvl="0"/>
            <a:r>
              <a:rPr lang="fr-FR" dirty="0"/>
              <a:t>Cliquez pour modifier le contenu du chapô</a:t>
            </a:r>
          </a:p>
        </p:txBody>
      </p:sp>
      <p:sp>
        <p:nvSpPr>
          <p:cNvPr id="17" name="Contenu">
            <a:extLst>
              <a:ext uri="{FF2B5EF4-FFF2-40B4-BE49-F238E27FC236}">
                <a16:creationId xmlns:a16="http://schemas.microsoft.com/office/drawing/2014/main" id="{446179F7-3B0B-4876-A39A-41D71BB7AD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913" y="1828800"/>
            <a:ext cx="8496000" cy="4680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 marL="228600" indent="-228600">
              <a:defRPr/>
            </a:lvl2pPr>
          </a:lstStyle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4" name="Contenu colonne">
            <a:extLst>
              <a:ext uri="{FF2B5EF4-FFF2-40B4-BE49-F238E27FC236}">
                <a16:creationId xmlns:a16="http://schemas.microsoft.com/office/drawing/2014/main" id="{9BFE5CF5-1C74-9B4F-AFD6-B50D58D3DB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163659" y="1934554"/>
            <a:ext cx="2519361" cy="4464696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fr-FR" sz="1800" b="1" dirty="0" smtClean="0">
                <a:solidFill>
                  <a:schemeClr val="bg2"/>
                </a:solidFill>
              </a:defRPr>
            </a:lvl1pPr>
            <a:lvl2pPr marL="0" indent="0">
              <a:buNone/>
              <a:defRPr lang="fr-FR" dirty="0" smtClean="0">
                <a:solidFill>
                  <a:schemeClr val="bg2"/>
                </a:solidFill>
              </a:defRPr>
            </a:lvl2pPr>
            <a:lvl3pPr marL="228600" indent="-228600">
              <a:defRPr sz="1200">
                <a:solidFill>
                  <a:schemeClr val="bg2"/>
                </a:solidFill>
              </a:defRPr>
            </a:lvl3pPr>
            <a:lvl4pPr marL="447675" indent="-228600">
              <a:defRPr lang="fr-FR" sz="1100" dirty="0" smtClean="0">
                <a:solidFill>
                  <a:schemeClr val="bg2"/>
                </a:solidFill>
              </a:defRPr>
            </a:lvl4pPr>
            <a:lvl5pPr marL="684000">
              <a:defRPr lang="fr-FR" sz="1100" dirty="0" smtClean="0">
                <a:solidFill>
                  <a:schemeClr val="bg2"/>
                </a:solidFill>
              </a:defRPr>
            </a:lvl5pPr>
            <a:lvl6pPr>
              <a:defRPr lang="fr-FR" dirty="0" smtClean="0"/>
            </a:lvl6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57960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_metho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">
            <a:extLst>
              <a:ext uri="{FF2B5EF4-FFF2-40B4-BE49-F238E27FC236}">
                <a16:creationId xmlns:a16="http://schemas.microsoft.com/office/drawing/2014/main" id="{96D385C4-49A9-4092-B19A-E874260CB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r ici pour ajouter un titre</a:t>
            </a:r>
          </a:p>
        </p:txBody>
      </p:sp>
      <p:sp>
        <p:nvSpPr>
          <p:cNvPr id="8" name="Sous-titre">
            <a:extLst>
              <a:ext uri="{FF2B5EF4-FFF2-40B4-BE49-F238E27FC236}">
                <a16:creationId xmlns:a16="http://schemas.microsoft.com/office/drawing/2014/main" id="{EC376C09-A0B0-404D-BCDB-C72EECE0ED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2" y="990600"/>
            <a:ext cx="11340000" cy="72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z="1600" dirty="0"/>
            </a:lvl1pPr>
          </a:lstStyle>
          <a:p>
            <a:pPr lvl="0"/>
            <a:r>
              <a:rPr lang="fr-FR" dirty="0"/>
              <a:t>Cliquez pour modifier le contenu de la méthode de travail</a:t>
            </a:r>
          </a:p>
        </p:txBody>
      </p:sp>
      <p:sp>
        <p:nvSpPr>
          <p:cNvPr id="9" name="Contenu">
            <a:extLst>
              <a:ext uri="{FF2B5EF4-FFF2-40B4-BE49-F238E27FC236}">
                <a16:creationId xmlns:a16="http://schemas.microsoft.com/office/drawing/2014/main" id="{F25BD5E8-687A-4124-8816-75F3FCBF2C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913" y="1828800"/>
            <a:ext cx="7918572" cy="990600"/>
          </a:xfrm>
          <a:prstGeom prst="rect">
            <a:avLst/>
          </a:prstGeom>
          <a:solidFill>
            <a:srgbClr val="DBDEE6"/>
          </a:solidFill>
        </p:spPr>
        <p:txBody>
          <a:bodyPr vert="horz" lIns="91440" tIns="45720" rIns="91440" bIns="45720" numCol="1" spcCol="144000" rtlCol="0">
            <a:noAutofit/>
          </a:bodyPr>
          <a:lstStyle>
            <a:lvl1pPr>
              <a:defRPr lang="fr-FR" b="1" dirty="0" smtClean="0"/>
            </a:lvl1pPr>
            <a:lvl2pPr marL="0" indent="0">
              <a:buFontTx/>
              <a:buNone/>
              <a:defRPr/>
            </a:lvl2pPr>
            <a:lvl3pPr marL="228600" indent="-228600">
              <a:defRPr sz="1200"/>
            </a:lvl3pPr>
          </a:lstStyle>
          <a:p>
            <a:pPr lvl="0"/>
            <a:r>
              <a:rPr lang="fr-FR" dirty="0"/>
              <a:t>Cliquez pour modifier les objectifs de cette phase de travail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10" name="Contenu détaillé">
            <a:extLst>
              <a:ext uri="{FF2B5EF4-FFF2-40B4-BE49-F238E27FC236}">
                <a16:creationId xmlns:a16="http://schemas.microsoft.com/office/drawing/2014/main" id="{4B9D30A6-A6B9-4D46-A24E-D49DB9CC7E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2913" y="2982686"/>
            <a:ext cx="7920000" cy="3458483"/>
          </a:xfrm>
          <a:prstGeom prst="rect">
            <a:avLst/>
          </a:prstGeom>
          <a:solidFill>
            <a:srgbClr val="DBDEE6"/>
          </a:solidFill>
        </p:spPr>
        <p:txBody>
          <a:bodyPr numCol="2" spcCol="144000"/>
          <a:lstStyle>
            <a:lvl1pPr>
              <a:defRPr b="1"/>
            </a:lvl1pPr>
            <a:lvl2pPr marL="0" indent="0">
              <a:buNone/>
              <a:defRPr/>
            </a:lvl2pPr>
            <a:lvl3pPr marL="228600" indent="-228600">
              <a:defRPr sz="1200"/>
            </a:lvl3pPr>
            <a:lvl4pPr marL="447675" indent="-228600">
              <a:defRPr sz="1100"/>
            </a:lvl4pPr>
            <a:lvl5pPr marL="684000" indent="-228600">
              <a:defRPr sz="1100"/>
            </a:lvl5pPr>
          </a:lstStyle>
          <a:p>
            <a:pPr lvl="0"/>
            <a:r>
              <a:rPr lang="fr-FR" dirty="0"/>
              <a:t>Cliquez pour modifier la méthode détaillée sur deux colonnes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1" name="Contenu ressources">
            <a:extLst>
              <a:ext uri="{FF2B5EF4-FFF2-40B4-BE49-F238E27FC236}">
                <a16:creationId xmlns:a16="http://schemas.microsoft.com/office/drawing/2014/main" id="{4BC7B526-5E5F-42F3-BFB0-19435347430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34399" y="1828795"/>
            <a:ext cx="3240000" cy="2160000"/>
          </a:xfrm>
          <a:prstGeom prst="rect">
            <a:avLst/>
          </a:prstGeom>
          <a:solidFill>
            <a:srgbClr val="DBDEE6"/>
          </a:solidFill>
        </p:spPr>
        <p:txBody>
          <a:bodyPr vert="horz" lIns="91440" tIns="45720" rIns="91440" bIns="45720" numCol="1" spcCol="144000" rtlCol="0">
            <a:noAutofit/>
          </a:bodyPr>
          <a:lstStyle>
            <a:lvl1pPr>
              <a:defRPr lang="fr-FR" b="1" dirty="0"/>
            </a:lvl1pPr>
            <a:lvl2pPr marL="0" indent="0">
              <a:buNone/>
              <a:defRPr lang="fr-FR" dirty="0"/>
            </a:lvl2pPr>
            <a:lvl3pPr marL="228600" indent="-228600">
              <a:defRPr lang="fr-FR" sz="1200" dirty="0"/>
            </a:lvl3pPr>
            <a:lvl4pPr marL="446088" indent="-228600">
              <a:defRPr lang="fr-FR" dirty="0"/>
            </a:lvl4pPr>
            <a:lvl5pPr marL="684000">
              <a:defRPr lang="fr-FR" dirty="0"/>
            </a:lvl5pPr>
          </a:lstStyle>
          <a:p>
            <a:pPr lvl="0"/>
            <a:r>
              <a:rPr lang="fr-FR" dirty="0"/>
              <a:t>Cliquez pour modifier les ressources mobilisées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2" name="Contenu livrables">
            <a:extLst>
              <a:ext uri="{FF2B5EF4-FFF2-40B4-BE49-F238E27FC236}">
                <a16:creationId xmlns:a16="http://schemas.microsoft.com/office/drawing/2014/main" id="{81A8EAE5-FE3E-4EBA-8EA9-3CC6EFDE61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39568" y="4174208"/>
            <a:ext cx="3240000" cy="2268000"/>
          </a:xfrm>
          <a:prstGeom prst="rect">
            <a:avLst/>
          </a:prstGeom>
          <a:solidFill>
            <a:srgbClr val="11245E"/>
          </a:solidFill>
        </p:spPr>
        <p:txBody>
          <a:bodyPr vert="horz" lIns="91440" tIns="45720" rIns="91440" bIns="45720" numCol="1" spcCol="144000" rtlCol="0">
            <a:noAutofit/>
          </a:bodyPr>
          <a:lstStyle>
            <a:lvl1pPr>
              <a:defRPr lang="fr-FR" b="1" dirty="0">
                <a:solidFill>
                  <a:schemeClr val="bg2"/>
                </a:solidFill>
              </a:defRPr>
            </a:lvl1pPr>
            <a:lvl2pPr marL="0" indent="0">
              <a:buNone/>
              <a:defRPr lang="fr-FR" dirty="0">
                <a:solidFill>
                  <a:schemeClr val="bg2"/>
                </a:solidFill>
              </a:defRPr>
            </a:lvl2pPr>
            <a:lvl3pPr marL="228600" indent="-228600">
              <a:defRPr lang="fr-FR" sz="1200" dirty="0">
                <a:solidFill>
                  <a:schemeClr val="bg2"/>
                </a:solidFill>
              </a:defRPr>
            </a:lvl3pPr>
            <a:lvl4pPr marL="447675" indent="-228600">
              <a:defRPr lang="fr-FR" dirty="0">
                <a:solidFill>
                  <a:schemeClr val="bg2"/>
                </a:solidFill>
              </a:defRPr>
            </a:lvl4pPr>
            <a:lvl5pPr marL="684000">
              <a:defRPr lang="fr-FR" dirty="0">
                <a:solidFill>
                  <a:schemeClr val="bg2"/>
                </a:solidFill>
              </a:defRPr>
            </a:lvl5pPr>
          </a:lstStyle>
          <a:p>
            <a:pPr lvl="0"/>
            <a:r>
              <a:rPr lang="fr-FR" dirty="0"/>
              <a:t>Cliquez pour modifier les livrables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224216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_fond_bleu">
    <p:bg>
      <p:bgPr>
        <a:solidFill>
          <a:srgbClr val="112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>
            <a:extLst>
              <a:ext uri="{FF2B5EF4-FFF2-40B4-BE49-F238E27FC236}">
                <a16:creationId xmlns:a16="http://schemas.microsoft.com/office/drawing/2014/main" id="{419B28B5-B4CC-6F4A-882A-575F5881F556}"/>
              </a:ext>
            </a:extLst>
          </p:cNvPr>
          <p:cNvGrpSpPr/>
          <p:nvPr userDrawn="1"/>
        </p:nvGrpSpPr>
        <p:grpSpPr>
          <a:xfrm>
            <a:off x="10586677" y="404578"/>
            <a:ext cx="1055804" cy="190542"/>
            <a:chOff x="213360" y="1621472"/>
            <a:chExt cx="11823193" cy="2133748"/>
          </a:xfrm>
        </p:grpSpPr>
        <p:cxnSp>
          <p:nvCxnSpPr>
            <p:cNvPr id="14" name="Connecteur droit 13">
              <a:extLst>
                <a:ext uri="{FF2B5EF4-FFF2-40B4-BE49-F238E27FC236}">
                  <a16:creationId xmlns:a16="http://schemas.microsoft.com/office/drawing/2014/main" id="{14B16176-0E45-F94F-8A4D-9A81252E4A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3360" y="1659233"/>
              <a:ext cx="1963250" cy="2095987"/>
            </a:xfrm>
            <a:prstGeom prst="line">
              <a:avLst/>
            </a:prstGeom>
            <a:ln w="508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>
              <a:extLst>
                <a:ext uri="{FF2B5EF4-FFF2-40B4-BE49-F238E27FC236}">
                  <a16:creationId xmlns:a16="http://schemas.microsoft.com/office/drawing/2014/main" id="{0CD77D2B-F474-EF42-926B-E94A21888F85}"/>
                </a:ext>
              </a:extLst>
            </p:cNvPr>
            <p:cNvCxnSpPr>
              <a:cxnSpLocks/>
            </p:cNvCxnSpPr>
            <p:nvPr/>
          </p:nvCxnSpPr>
          <p:spPr>
            <a:xfrm>
              <a:off x="2176610" y="1659233"/>
              <a:ext cx="1972057" cy="2077107"/>
            </a:xfrm>
            <a:prstGeom prst="line">
              <a:avLst/>
            </a:prstGeom>
            <a:ln w="508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>
              <a:extLst>
                <a:ext uri="{FF2B5EF4-FFF2-40B4-BE49-F238E27FC236}">
                  <a16:creationId xmlns:a16="http://schemas.microsoft.com/office/drawing/2014/main" id="{BFFC91AE-71D4-9F4D-BD26-0B6B40214A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48667" y="1638405"/>
              <a:ext cx="1963250" cy="2095987"/>
            </a:xfrm>
            <a:prstGeom prst="line">
              <a:avLst/>
            </a:prstGeom>
            <a:ln w="508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5111BE69-0B9F-744C-8DBE-CA5B5D195AA2}"/>
                </a:ext>
              </a:extLst>
            </p:cNvPr>
            <p:cNvCxnSpPr>
              <a:cxnSpLocks/>
            </p:cNvCxnSpPr>
            <p:nvPr/>
          </p:nvCxnSpPr>
          <p:spPr>
            <a:xfrm>
              <a:off x="6111917" y="1638405"/>
              <a:ext cx="1972057" cy="2077107"/>
            </a:xfrm>
            <a:prstGeom prst="line">
              <a:avLst/>
            </a:prstGeom>
            <a:ln w="508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>
              <a:extLst>
                <a:ext uri="{FF2B5EF4-FFF2-40B4-BE49-F238E27FC236}">
                  <a16:creationId xmlns:a16="http://schemas.microsoft.com/office/drawing/2014/main" id="{94A65E7B-4543-E446-9E29-DC9F3EA53A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01246" y="1621472"/>
              <a:ext cx="1963250" cy="2095987"/>
            </a:xfrm>
            <a:prstGeom prst="line">
              <a:avLst/>
            </a:prstGeom>
            <a:ln w="508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>
              <a:extLst>
                <a:ext uri="{FF2B5EF4-FFF2-40B4-BE49-F238E27FC236}">
                  <a16:creationId xmlns:a16="http://schemas.microsoft.com/office/drawing/2014/main" id="{8FBC5304-4778-CF4E-83F5-3DAE7CA3FC48}"/>
                </a:ext>
              </a:extLst>
            </p:cNvPr>
            <p:cNvCxnSpPr>
              <a:cxnSpLocks/>
            </p:cNvCxnSpPr>
            <p:nvPr/>
          </p:nvCxnSpPr>
          <p:spPr>
            <a:xfrm>
              <a:off x="10064496" y="1621472"/>
              <a:ext cx="1972057" cy="2077107"/>
            </a:xfrm>
            <a:prstGeom prst="line">
              <a:avLst/>
            </a:prstGeom>
            <a:ln w="50800" cap="rnd">
              <a:solidFill>
                <a:schemeClr val="bg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re 1">
            <a:extLst>
              <a:ext uri="{FF2B5EF4-FFF2-40B4-BE49-F238E27FC236}">
                <a16:creationId xmlns:a16="http://schemas.microsoft.com/office/drawing/2014/main" id="{3F16FCAC-A018-4E8F-B45D-E3AF6458E0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r ici pour ajouter un titre</a:t>
            </a:r>
          </a:p>
        </p:txBody>
      </p:sp>
      <p:sp>
        <p:nvSpPr>
          <p:cNvPr id="20" name="Sous-titre">
            <a:extLst>
              <a:ext uri="{FF2B5EF4-FFF2-40B4-BE49-F238E27FC236}">
                <a16:creationId xmlns:a16="http://schemas.microsoft.com/office/drawing/2014/main" id="{465812A5-287C-4D6B-8CB0-5F809BC289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2912" y="990600"/>
            <a:ext cx="11340000" cy="72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z="1600" dirty="0">
                <a:solidFill>
                  <a:srgbClr val="0095D9"/>
                </a:solidFill>
              </a:defRPr>
            </a:lvl1pPr>
          </a:lstStyle>
          <a:p>
            <a:pPr lvl="0"/>
            <a:r>
              <a:rPr lang="fr-FR" dirty="0"/>
              <a:t>Cliquez pour modifier le contenu de la méthode de travail</a:t>
            </a:r>
          </a:p>
        </p:txBody>
      </p:sp>
      <p:sp>
        <p:nvSpPr>
          <p:cNvPr id="21" name="Contenu">
            <a:extLst>
              <a:ext uri="{FF2B5EF4-FFF2-40B4-BE49-F238E27FC236}">
                <a16:creationId xmlns:a16="http://schemas.microsoft.com/office/drawing/2014/main" id="{2BEB17DA-17AF-46AC-9D00-FF827DB499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913" y="1828800"/>
            <a:ext cx="2700000" cy="453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5D9"/>
                </a:solidFill>
              </a:defRPr>
            </a:lvl1pPr>
            <a:lvl2pPr marL="228600" indent="-228600">
              <a:defRPr>
                <a:solidFill>
                  <a:srgbClr val="0095D9"/>
                </a:solidFill>
              </a:defRPr>
            </a:lvl2pPr>
            <a:lvl3pPr>
              <a:defRPr>
                <a:solidFill>
                  <a:srgbClr val="0095D9"/>
                </a:solidFill>
              </a:defRPr>
            </a:lvl3pPr>
            <a:lvl4pPr>
              <a:defRPr>
                <a:solidFill>
                  <a:srgbClr val="0095D9"/>
                </a:solidFill>
              </a:defRPr>
            </a:lvl4pPr>
            <a:lvl5pPr>
              <a:defRPr>
                <a:solidFill>
                  <a:srgbClr val="0095D9"/>
                </a:solidFill>
              </a:defRPr>
            </a:lvl5pPr>
          </a:lstStyle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2" name="Contenu">
            <a:extLst>
              <a:ext uri="{FF2B5EF4-FFF2-40B4-BE49-F238E27FC236}">
                <a16:creationId xmlns:a16="http://schemas.microsoft.com/office/drawing/2014/main" id="{FD8262A9-81E6-42C7-9EC4-1569086581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38507" y="1828799"/>
            <a:ext cx="8460000" cy="3060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>
                <a:solidFill>
                  <a:srgbClr val="0095D9"/>
                </a:solidFill>
              </a:defRPr>
            </a:lvl1pPr>
            <a:lvl2pPr marL="228600" indent="-228600">
              <a:defRPr>
                <a:solidFill>
                  <a:srgbClr val="0095D9"/>
                </a:solidFill>
              </a:defRPr>
            </a:lvl2pPr>
            <a:lvl3pPr>
              <a:defRPr>
                <a:solidFill>
                  <a:srgbClr val="0095D9"/>
                </a:solidFill>
              </a:defRPr>
            </a:lvl3pPr>
            <a:lvl4pPr>
              <a:defRPr>
                <a:solidFill>
                  <a:srgbClr val="0095D9"/>
                </a:solidFill>
              </a:defRPr>
            </a:lvl4pPr>
            <a:lvl5pPr>
              <a:defRPr>
                <a:solidFill>
                  <a:srgbClr val="0095D9"/>
                </a:solidFill>
              </a:defRPr>
            </a:lvl5pPr>
          </a:lstStyle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3" name="Contenu">
            <a:extLst>
              <a:ext uri="{FF2B5EF4-FFF2-40B4-BE49-F238E27FC236}">
                <a16:creationId xmlns:a16="http://schemas.microsoft.com/office/drawing/2014/main" id="{9D58761C-FB55-48CA-A74A-4B107734F6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38503" y="5074170"/>
            <a:ext cx="8460000" cy="1296000"/>
          </a:xfrm>
          <a:prstGeom prst="rect">
            <a:avLst/>
          </a:prstGeom>
          <a:solidFill>
            <a:srgbClr val="0095D9"/>
          </a:solidFill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 marL="228600" indent="-228600"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quez pour modifier le text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739424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_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52CF0F8F-F6CC-4EA5-B31E-433185CD154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10339" y="296862"/>
            <a:ext cx="1208994" cy="1684337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CBFB85E-A49F-4062-A3AA-CA05EEAF78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44161" y="296863"/>
            <a:ext cx="8878751" cy="5760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Cliquer ici pour ajouter un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71D9BDE-524C-4551-94EE-6A025B45FA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47825" y="904875"/>
            <a:ext cx="10152000" cy="10476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fr-FR" dirty="0"/>
              <a:t>Cliquer ici pour remplacer par une présentation de la personne.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765E07B1-49FB-4230-B728-8C0074FE8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5273" y="2150555"/>
            <a:ext cx="8333655" cy="43923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/>
            </a:lvl1pPr>
            <a:lvl2pPr marL="0" indent="0">
              <a:buNone/>
              <a:defRPr sz="1200"/>
            </a:lvl2pPr>
            <a:lvl3pPr marL="228600" indent="-228600">
              <a:defRPr sz="1200"/>
            </a:lvl3pPr>
            <a:lvl4pPr marL="447675" indent="-228600">
              <a:defRPr sz="1100"/>
            </a:lvl4pPr>
          </a:lstStyle>
          <a:p>
            <a:pPr lvl="0"/>
            <a:r>
              <a:rPr lang="fr-FR" dirty="0"/>
              <a:t>Cliquer ici pour insérer les missions du consultant</a:t>
            </a:r>
          </a:p>
          <a:p>
            <a:pPr lvl="1"/>
            <a:r>
              <a:rPr lang="fr-FR" dirty="0"/>
              <a:t>Avec un peu de détail quand même.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2940C3B-AA47-4160-8545-34F4D2E8ECF2}"/>
              </a:ext>
            </a:extLst>
          </p:cNvPr>
          <p:cNvSpPr/>
          <p:nvPr userDrawn="1"/>
        </p:nvSpPr>
        <p:spPr>
          <a:xfrm>
            <a:off x="8699789" y="2145877"/>
            <a:ext cx="3500671" cy="188217"/>
          </a:xfrm>
          <a:prstGeom prst="rect">
            <a:avLst/>
          </a:prstGeom>
          <a:solidFill>
            <a:srgbClr val="1124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1100" b="1" spc="300" baseline="0" dirty="0">
                <a:solidFill>
                  <a:schemeClr val="bg1"/>
                </a:solidFill>
                <a:latin typeface="+mn-lt"/>
              </a:rPr>
              <a:t>PARCOURS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68EB932A-C04A-4FDC-9A1D-476387887E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99788" y="2379147"/>
            <a:ext cx="3384000" cy="15053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>
              <a:defRPr/>
            </a:lvl2pPr>
          </a:lstStyle>
          <a:p>
            <a:pPr lvl="0"/>
            <a:r>
              <a:rPr lang="fr-FR" dirty="0"/>
              <a:t>Cliquer ici pour remplacer par le parcours de la personne.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00A799C-EB56-4C72-804C-034FF9E9472E}"/>
              </a:ext>
            </a:extLst>
          </p:cNvPr>
          <p:cNvSpPr/>
          <p:nvPr userDrawn="1"/>
        </p:nvSpPr>
        <p:spPr>
          <a:xfrm>
            <a:off x="8696313" y="4035149"/>
            <a:ext cx="3500671" cy="188217"/>
          </a:xfrm>
          <a:prstGeom prst="rect">
            <a:avLst/>
          </a:prstGeom>
          <a:solidFill>
            <a:srgbClr val="1124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1100" b="1" spc="300" baseline="0" dirty="0">
                <a:solidFill>
                  <a:schemeClr val="bg1"/>
                </a:solidFill>
                <a:latin typeface="+mn-lt"/>
              </a:rPr>
              <a:t>COMPETENCES ET SPECIALITES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39E040F0-462C-469E-9F83-429BA43857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07199" y="4268419"/>
            <a:ext cx="3384000" cy="22958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>
              <a:lnSpc>
                <a:spcPts val="1000"/>
              </a:lnSpc>
              <a:defRPr/>
            </a:lvl2pPr>
          </a:lstStyle>
          <a:p>
            <a:pPr lvl="0"/>
            <a:r>
              <a:rPr lang="fr-FR" dirty="0"/>
              <a:t>Cliquer ici pour remplacer les compétences et spécialités de la personne.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603826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 fixe">
    <p:bg>
      <p:bgPr>
        <a:gradFill>
          <a:gsLst>
            <a:gs pos="0">
              <a:schemeClr val="accent3"/>
            </a:gs>
            <a:gs pos="60000">
              <a:schemeClr val="bg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D1DCB53-411B-650F-D848-F71611220941}"/>
              </a:ext>
            </a:extLst>
          </p:cNvPr>
          <p:cNvSpPr/>
          <p:nvPr userDrawn="1"/>
        </p:nvSpPr>
        <p:spPr>
          <a:xfrm>
            <a:off x="7556500" y="0"/>
            <a:ext cx="4635500" cy="685465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83A0D51-981B-EE96-F53D-6C1EBAA8F6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199" y="3568656"/>
            <a:ext cx="6269136" cy="488337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 la date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9B70A6D8-77FF-6C5D-3485-C51193BC01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67696" y="5512940"/>
            <a:ext cx="875139" cy="875139"/>
          </a:xfrm>
          <a:prstGeom prst="rect">
            <a:avLst/>
          </a:prstGeom>
        </p:spPr>
      </p:pic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053570F2-46C7-AF25-B5D1-47FE110675BF}"/>
              </a:ext>
            </a:extLst>
          </p:cNvPr>
          <p:cNvSpPr/>
          <p:nvPr/>
        </p:nvSpPr>
        <p:spPr>
          <a:xfrm>
            <a:off x="9851866" y="3342"/>
            <a:ext cx="2317542" cy="2722337"/>
          </a:xfrm>
          <a:custGeom>
            <a:avLst/>
            <a:gdLst>
              <a:gd name="connsiteX0" fmla="*/ 0 w 2317542"/>
              <a:gd name="connsiteY0" fmla="*/ 1552444 h 2722337"/>
              <a:gd name="connsiteX1" fmla="*/ 711734 w 2317542"/>
              <a:gd name="connsiteY1" fmla="*/ 2722338 h 2722337"/>
              <a:gd name="connsiteX2" fmla="*/ 2317543 w 2317542"/>
              <a:gd name="connsiteY2" fmla="*/ 0 h 2722337"/>
              <a:gd name="connsiteX3" fmla="*/ 1026971 w 2317542"/>
              <a:gd name="connsiteY3" fmla="*/ 0 h 2722337"/>
              <a:gd name="connsiteX4" fmla="*/ 0 w 2317542"/>
              <a:gd name="connsiteY4" fmla="*/ 1552444 h 2722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17542" h="2722337">
                <a:moveTo>
                  <a:pt x="0" y="1552444"/>
                </a:moveTo>
                <a:lnTo>
                  <a:pt x="711734" y="2722338"/>
                </a:lnTo>
                <a:lnTo>
                  <a:pt x="2317543" y="0"/>
                </a:lnTo>
                <a:lnTo>
                  <a:pt x="1026971" y="0"/>
                </a:lnTo>
                <a:lnTo>
                  <a:pt x="0" y="1552444"/>
                </a:lnTo>
                <a:close/>
              </a:path>
            </a:pathLst>
          </a:custGeom>
          <a:solidFill>
            <a:schemeClr val="accent5"/>
          </a:solidFill>
          <a:ln w="11521" cap="flat">
            <a:noFill/>
            <a:prstDash val="solid"/>
            <a:miter/>
          </a:ln>
        </p:spPr>
        <p:txBody>
          <a:bodyPr rtlCol="0" anchor="ctr"/>
          <a:lstStyle/>
          <a:p>
            <a:endParaRPr lang="fr-FR">
              <a:solidFill>
                <a:schemeClr val="tx2"/>
              </a:solidFill>
            </a:endParaRP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2832ACE5-A9F2-8952-2520-77F5AE6F1DD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838199" y="4614257"/>
            <a:ext cx="6269136" cy="1649905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fr-FR" sz="2400" smtClean="0"/>
            </a:lvl1pPr>
            <a:lvl2pPr>
              <a:defRPr lang="fr-FR" sz="2000" smtClean="0"/>
            </a:lvl2pPr>
            <a:lvl3pPr>
              <a:defRPr lang="fr-FR" sz="1800" smtClean="0"/>
            </a:lvl3pPr>
            <a:lvl4pPr>
              <a:defRPr lang="fr-FR" smtClean="0"/>
            </a:lvl4pPr>
            <a:lvl5pPr>
              <a:defRPr lang="fr-FR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" name="Forme libre : forme 1">
            <a:extLst>
              <a:ext uri="{FF2B5EF4-FFF2-40B4-BE49-F238E27FC236}">
                <a16:creationId xmlns:a16="http://schemas.microsoft.com/office/drawing/2014/main" id="{DC3C4649-EEEB-3F88-4A7F-4100CDB4101C}"/>
              </a:ext>
            </a:extLst>
          </p:cNvPr>
          <p:cNvSpPr/>
          <p:nvPr userDrawn="1"/>
        </p:nvSpPr>
        <p:spPr>
          <a:xfrm>
            <a:off x="4950591" y="-2014"/>
            <a:ext cx="3710580" cy="6869295"/>
          </a:xfrm>
          <a:custGeom>
            <a:avLst/>
            <a:gdLst>
              <a:gd name="connsiteX0" fmla="*/ 1395113 w 3710580"/>
              <a:gd name="connsiteY0" fmla="*/ 0 h 6869295"/>
              <a:gd name="connsiteX1" fmla="*/ 0 w 3710580"/>
              <a:gd name="connsiteY1" fmla="*/ 0 h 6869295"/>
              <a:gd name="connsiteX2" fmla="*/ 2420009 w 3710580"/>
              <a:gd name="connsiteY2" fmla="*/ 3821462 h 6869295"/>
              <a:gd name="connsiteX3" fmla="*/ 2420009 w 3710580"/>
              <a:gd name="connsiteY3" fmla="*/ 6869296 h 6869295"/>
              <a:gd name="connsiteX4" fmla="*/ 3710581 w 3710580"/>
              <a:gd name="connsiteY4" fmla="*/ 6869296 h 6869295"/>
              <a:gd name="connsiteX5" fmla="*/ 3710581 w 3710580"/>
              <a:gd name="connsiteY5" fmla="*/ 3802444 h 6869295"/>
              <a:gd name="connsiteX6" fmla="*/ 3259797 w 3710580"/>
              <a:gd name="connsiteY6" fmla="*/ 3117797 h 6869295"/>
              <a:gd name="connsiteX7" fmla="*/ 1395113 w 3710580"/>
              <a:gd name="connsiteY7" fmla="*/ 0 h 6869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10580" h="6869295">
                <a:moveTo>
                  <a:pt x="1395113" y="0"/>
                </a:moveTo>
                <a:lnTo>
                  <a:pt x="0" y="0"/>
                </a:lnTo>
                <a:lnTo>
                  <a:pt x="2420009" y="3821462"/>
                </a:lnTo>
                <a:lnTo>
                  <a:pt x="2420009" y="6869296"/>
                </a:lnTo>
                <a:lnTo>
                  <a:pt x="3710581" y="6869296"/>
                </a:lnTo>
                <a:lnTo>
                  <a:pt x="3710581" y="3802444"/>
                </a:lnTo>
                <a:lnTo>
                  <a:pt x="3259797" y="3117797"/>
                </a:lnTo>
                <a:lnTo>
                  <a:pt x="1395113" y="0"/>
                </a:lnTo>
                <a:close/>
              </a:path>
            </a:pathLst>
          </a:custGeom>
          <a:solidFill>
            <a:schemeClr val="accent2"/>
          </a:solidFill>
          <a:ln w="11521" cap="flat">
            <a:noFill/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59F6F1F6-0371-465E-DAE6-B51F0F9BA71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0150" y="0"/>
            <a:ext cx="35998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719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_4c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5427B94-DD34-4B3E-8898-6E9D4580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r ici pour ajouter un titre</a:t>
            </a:r>
          </a:p>
        </p:txBody>
      </p:sp>
      <p:sp>
        <p:nvSpPr>
          <p:cNvPr id="24" name="Sous-titre">
            <a:extLst>
              <a:ext uri="{FF2B5EF4-FFF2-40B4-BE49-F238E27FC236}">
                <a16:creationId xmlns:a16="http://schemas.microsoft.com/office/drawing/2014/main" id="{83A48AE9-A974-4ECD-8F6A-B9528B261978}"/>
              </a:ext>
            </a:extLst>
          </p:cNvPr>
          <p:cNvSpPr>
            <a:spLocks noGrp="1"/>
          </p:cNvSpPr>
          <p:nvPr>
            <p:ph type="body" sz="quarter" idx="9" hasCustomPrompt="1"/>
          </p:nvPr>
        </p:nvSpPr>
        <p:spPr>
          <a:xfrm>
            <a:off x="442912" y="990600"/>
            <a:ext cx="11340000" cy="72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z="1600" dirty="0"/>
            </a:lvl1pPr>
          </a:lstStyle>
          <a:p>
            <a:pPr lvl="0"/>
            <a:r>
              <a:rPr lang="fr-FR" dirty="0"/>
              <a:t>Cliquez pour modifier le contenu du chapô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95A49D5-A8BA-4231-8414-60C28E52A6A1}"/>
              </a:ext>
            </a:extLst>
          </p:cNvPr>
          <p:cNvSpPr/>
          <p:nvPr userDrawn="1"/>
        </p:nvSpPr>
        <p:spPr>
          <a:xfrm>
            <a:off x="671287" y="2126395"/>
            <a:ext cx="2593257" cy="1240897"/>
          </a:xfrm>
          <a:prstGeom prst="rect">
            <a:avLst/>
          </a:prstGeom>
          <a:solidFill>
            <a:srgbClr val="11245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4DA7DCD-6FE3-4C5B-9822-EFA5BCAFD2E0}"/>
              </a:ext>
            </a:extLst>
          </p:cNvPr>
          <p:cNvSpPr/>
          <p:nvPr userDrawn="1"/>
        </p:nvSpPr>
        <p:spPr>
          <a:xfrm>
            <a:off x="671287" y="3367292"/>
            <a:ext cx="2593257" cy="2693324"/>
          </a:xfrm>
          <a:prstGeom prst="rect">
            <a:avLst/>
          </a:prstGeom>
          <a:solidFill>
            <a:srgbClr val="11245E">
              <a:alpha val="1882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Espace réservé du texte 51">
            <a:extLst>
              <a:ext uri="{FF2B5EF4-FFF2-40B4-BE49-F238E27FC236}">
                <a16:creationId xmlns:a16="http://schemas.microsoft.com/office/drawing/2014/main" id="{7B5F26D9-A9C0-4200-A7E7-C3EA9AA15F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1513" y="2125663"/>
            <a:ext cx="2592387" cy="1241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0095D9"/>
                </a:solidFill>
              </a:defRPr>
            </a:lvl1pPr>
          </a:lstStyle>
          <a:p>
            <a:pPr lvl="0"/>
            <a:r>
              <a:rPr lang="fr-FR" dirty="0"/>
              <a:t>CLIQUER ICI POUR MODIFIER LE CONTENU DE LA CELLULE</a:t>
            </a:r>
          </a:p>
        </p:txBody>
      </p:sp>
      <p:sp>
        <p:nvSpPr>
          <p:cNvPr id="60" name="Espace réservé du texte 59">
            <a:extLst>
              <a:ext uri="{FF2B5EF4-FFF2-40B4-BE49-F238E27FC236}">
                <a16:creationId xmlns:a16="http://schemas.microsoft.com/office/drawing/2014/main" id="{12A04E5A-5493-4065-801F-170E78A6CD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287" y="3384550"/>
            <a:ext cx="2592613" cy="19907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FC93C847-BC36-4497-9C71-9DBA2A96CF2F}"/>
              </a:ext>
            </a:extLst>
          </p:cNvPr>
          <p:cNvSpPr txBox="1"/>
          <p:nvPr userDrawn="1"/>
        </p:nvSpPr>
        <p:spPr>
          <a:xfrm>
            <a:off x="750128" y="5040461"/>
            <a:ext cx="84318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15863C9-153F-4321-97EE-95C724FBD102}"/>
              </a:ext>
            </a:extLst>
          </p:cNvPr>
          <p:cNvSpPr/>
          <p:nvPr userDrawn="1"/>
        </p:nvSpPr>
        <p:spPr>
          <a:xfrm>
            <a:off x="3426743" y="2126395"/>
            <a:ext cx="2593257" cy="1240897"/>
          </a:xfrm>
          <a:prstGeom prst="rect">
            <a:avLst/>
          </a:prstGeom>
          <a:solidFill>
            <a:srgbClr val="00484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468B4A3-B0C4-4BCE-B4DE-214369EE39C2}"/>
              </a:ext>
            </a:extLst>
          </p:cNvPr>
          <p:cNvSpPr/>
          <p:nvPr userDrawn="1"/>
        </p:nvSpPr>
        <p:spPr>
          <a:xfrm>
            <a:off x="3426743" y="3367292"/>
            <a:ext cx="2593257" cy="2693324"/>
          </a:xfrm>
          <a:prstGeom prst="rect">
            <a:avLst/>
          </a:prstGeom>
          <a:solidFill>
            <a:srgbClr val="00484E">
              <a:alpha val="1882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Espace réservé du texte 51">
            <a:extLst>
              <a:ext uri="{FF2B5EF4-FFF2-40B4-BE49-F238E27FC236}">
                <a16:creationId xmlns:a16="http://schemas.microsoft.com/office/drawing/2014/main" id="{49A82842-C339-4845-B90F-5E35778233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16300" y="2125663"/>
            <a:ext cx="2592387" cy="1241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00A7A3"/>
                </a:solidFill>
              </a:defRPr>
            </a:lvl1pPr>
          </a:lstStyle>
          <a:p>
            <a:pPr lvl="0"/>
            <a:r>
              <a:rPr lang="fr-FR" dirty="0"/>
              <a:t>CLIQUER ICI POUR MODIFIER LE CONTENU DE LA CELLULE</a:t>
            </a:r>
          </a:p>
        </p:txBody>
      </p:sp>
      <p:sp>
        <p:nvSpPr>
          <p:cNvPr id="62" name="Espace réservé du texte 59">
            <a:extLst>
              <a:ext uri="{FF2B5EF4-FFF2-40B4-BE49-F238E27FC236}">
                <a16:creationId xmlns:a16="http://schemas.microsoft.com/office/drawing/2014/main" id="{0B327031-729A-4F50-A653-3AB392ADF6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29671" y="3365449"/>
            <a:ext cx="2592613" cy="19907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AB67E0A1-EE8F-43DA-9CFF-F1936A6157B6}"/>
              </a:ext>
            </a:extLst>
          </p:cNvPr>
          <p:cNvSpPr txBox="1"/>
          <p:nvPr userDrawn="1"/>
        </p:nvSpPr>
        <p:spPr>
          <a:xfrm>
            <a:off x="3505584" y="5040461"/>
            <a:ext cx="84318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92999EA-ABB3-48DE-AE1D-1A0EA72C51E1}"/>
              </a:ext>
            </a:extLst>
          </p:cNvPr>
          <p:cNvSpPr/>
          <p:nvPr userDrawn="1"/>
        </p:nvSpPr>
        <p:spPr>
          <a:xfrm>
            <a:off x="6182199" y="2126395"/>
            <a:ext cx="2593257" cy="1240897"/>
          </a:xfrm>
          <a:prstGeom prst="rect">
            <a:avLst/>
          </a:prstGeom>
          <a:solidFill>
            <a:srgbClr val="0095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7F63A0C-9B8E-40EB-B9EE-EE857ACA8B92}"/>
              </a:ext>
            </a:extLst>
          </p:cNvPr>
          <p:cNvSpPr/>
          <p:nvPr userDrawn="1"/>
        </p:nvSpPr>
        <p:spPr>
          <a:xfrm>
            <a:off x="6182199" y="3367292"/>
            <a:ext cx="2593257" cy="2693324"/>
          </a:xfrm>
          <a:prstGeom prst="rect">
            <a:avLst/>
          </a:prstGeom>
          <a:solidFill>
            <a:srgbClr val="0095D9">
              <a:alpha val="1882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Espace réservé du texte 51">
            <a:extLst>
              <a:ext uri="{FF2B5EF4-FFF2-40B4-BE49-F238E27FC236}">
                <a16:creationId xmlns:a16="http://schemas.microsoft.com/office/drawing/2014/main" id="{D585B2EA-0EC7-4F05-AA11-BB709B3660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82199" y="2124025"/>
            <a:ext cx="2592387" cy="1241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11245E"/>
                </a:solidFill>
              </a:defRPr>
            </a:lvl1pPr>
          </a:lstStyle>
          <a:p>
            <a:pPr lvl="0"/>
            <a:r>
              <a:rPr lang="fr-FR" dirty="0"/>
              <a:t>CLIQUER ICI POUR MODIFIER LE CONTENU DE LA CELLULE</a:t>
            </a:r>
          </a:p>
        </p:txBody>
      </p:sp>
      <p:sp>
        <p:nvSpPr>
          <p:cNvPr id="63" name="Espace réservé du texte 59">
            <a:extLst>
              <a:ext uri="{FF2B5EF4-FFF2-40B4-BE49-F238E27FC236}">
                <a16:creationId xmlns:a16="http://schemas.microsoft.com/office/drawing/2014/main" id="{525C8701-5834-462F-BED0-B022764586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8207" y="3379584"/>
            <a:ext cx="2592613" cy="19907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C9353B74-77A7-4EE3-88B7-EF3B0835E1EC}"/>
              </a:ext>
            </a:extLst>
          </p:cNvPr>
          <p:cNvSpPr txBox="1"/>
          <p:nvPr userDrawn="1"/>
        </p:nvSpPr>
        <p:spPr>
          <a:xfrm>
            <a:off x="6261040" y="5040461"/>
            <a:ext cx="84318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2C017B0-ADFD-40DB-AC33-05AB7E756EC1}"/>
              </a:ext>
            </a:extLst>
          </p:cNvPr>
          <p:cNvSpPr/>
          <p:nvPr userDrawn="1"/>
        </p:nvSpPr>
        <p:spPr>
          <a:xfrm>
            <a:off x="8904458" y="2126395"/>
            <a:ext cx="2593257" cy="1240897"/>
          </a:xfrm>
          <a:prstGeom prst="rect">
            <a:avLst/>
          </a:prstGeom>
          <a:solidFill>
            <a:srgbClr val="FFAE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9208148-547A-43C0-A3BE-E97E37FF64F9}"/>
              </a:ext>
            </a:extLst>
          </p:cNvPr>
          <p:cNvSpPr/>
          <p:nvPr userDrawn="1"/>
        </p:nvSpPr>
        <p:spPr>
          <a:xfrm>
            <a:off x="8904458" y="3367292"/>
            <a:ext cx="2593257" cy="2693324"/>
          </a:xfrm>
          <a:prstGeom prst="rect">
            <a:avLst/>
          </a:prstGeom>
          <a:solidFill>
            <a:srgbClr val="FFAE0E">
              <a:alpha val="1882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Espace réservé du texte 51">
            <a:extLst>
              <a:ext uri="{FF2B5EF4-FFF2-40B4-BE49-F238E27FC236}">
                <a16:creationId xmlns:a16="http://schemas.microsoft.com/office/drawing/2014/main" id="{C1356E8E-C4BC-4453-B271-B569DD0044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03588" y="2124024"/>
            <a:ext cx="2592387" cy="1241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F25507"/>
                </a:solidFill>
              </a:defRPr>
            </a:lvl1pPr>
          </a:lstStyle>
          <a:p>
            <a:pPr lvl="0"/>
            <a:r>
              <a:rPr lang="fr-FR" dirty="0"/>
              <a:t>CLIQUER ICI POUR MODIFIER LE CONTENU DE LA CELLULE</a:t>
            </a:r>
          </a:p>
        </p:txBody>
      </p:sp>
      <p:sp>
        <p:nvSpPr>
          <p:cNvPr id="64" name="Espace réservé du texte 59">
            <a:extLst>
              <a:ext uri="{FF2B5EF4-FFF2-40B4-BE49-F238E27FC236}">
                <a16:creationId xmlns:a16="http://schemas.microsoft.com/office/drawing/2014/main" id="{236C5255-B608-4D59-A6B4-D5D6D39F22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03362" y="3379584"/>
            <a:ext cx="2592613" cy="19907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Cliquez pour modifier les styles du texte du masque</a:t>
            </a:r>
          </a:p>
          <a:p>
            <a:pPr lvl="0"/>
            <a:endParaRPr lang="fr-FR" dirty="0"/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A360F080-F7FC-409C-9FD1-C1FB73066128}"/>
              </a:ext>
            </a:extLst>
          </p:cNvPr>
          <p:cNvSpPr txBox="1"/>
          <p:nvPr userDrawn="1"/>
        </p:nvSpPr>
        <p:spPr>
          <a:xfrm>
            <a:off x="8983299" y="5040461"/>
            <a:ext cx="84318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4706650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s_r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4465AF5-28BC-49BF-95BD-A9DDF02499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r ici pour ajouter un titre</a:t>
            </a:r>
          </a:p>
        </p:txBody>
      </p:sp>
      <p:sp>
        <p:nvSpPr>
          <p:cNvPr id="12" name="Sous-titre">
            <a:extLst>
              <a:ext uri="{FF2B5EF4-FFF2-40B4-BE49-F238E27FC236}">
                <a16:creationId xmlns:a16="http://schemas.microsoft.com/office/drawing/2014/main" id="{F7A681B4-1D3B-4A7F-B968-FA07EE39D8AD}"/>
              </a:ext>
            </a:extLst>
          </p:cNvPr>
          <p:cNvSpPr>
            <a:spLocks noGrp="1"/>
          </p:cNvSpPr>
          <p:nvPr>
            <p:ph type="body" sz="quarter" idx="2" hasCustomPrompt="1"/>
          </p:nvPr>
        </p:nvSpPr>
        <p:spPr>
          <a:xfrm>
            <a:off x="442913" y="990600"/>
            <a:ext cx="9764778" cy="72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sz="1600" dirty="0"/>
            </a:lvl1pPr>
          </a:lstStyle>
          <a:p>
            <a:pPr lvl="0"/>
            <a:r>
              <a:rPr lang="fr-FR" dirty="0"/>
              <a:t>Cliquez pour modifier le contenu du chapô</a:t>
            </a:r>
          </a:p>
        </p:txBody>
      </p:sp>
      <p:sp>
        <p:nvSpPr>
          <p:cNvPr id="7" name="Espace réservé pour une image  8">
            <a:extLst>
              <a:ext uri="{FF2B5EF4-FFF2-40B4-BE49-F238E27FC236}">
                <a16:creationId xmlns:a16="http://schemas.microsoft.com/office/drawing/2014/main" id="{62CEE7B5-72CD-41D6-BDA9-219DC544382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263501" y="833881"/>
            <a:ext cx="1700565" cy="1084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ctr">
            <a:normAutofit/>
          </a:bodyPr>
          <a:lstStyle>
            <a:lvl1pPr marL="0" indent="0" algn="ctr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EE33DE3D-2BCD-412B-A02C-FF69D98D6A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42913" y="1787894"/>
            <a:ext cx="7026751" cy="45702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fr-FR" b="1" dirty="0"/>
            </a:lvl1pPr>
            <a:lvl2pPr marL="0" indent="0">
              <a:buNone/>
              <a:defRPr lang="fr-FR" dirty="0" smtClean="0"/>
            </a:lvl2pPr>
            <a:lvl3pPr marL="228600" indent="-228600">
              <a:defRPr sz="1200"/>
            </a:lvl3pPr>
            <a:lvl4pPr marL="447675" indent="-228600">
              <a:defRPr sz="1100"/>
            </a:lvl4pPr>
            <a:lvl5pPr marL="684000" indent="-228600">
              <a:defRPr/>
            </a:lvl5pPr>
          </a:lstStyle>
          <a:p>
            <a:pPr lvl="0"/>
            <a:r>
              <a:rPr lang="fr-FR" dirty="0"/>
              <a:t>Contexte et enjeux du dossier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contenu 6">
            <a:extLst>
              <a:ext uri="{FF2B5EF4-FFF2-40B4-BE49-F238E27FC236}">
                <a16:creationId xmlns:a16="http://schemas.microsoft.com/office/drawing/2014/main" id="{0499D6CA-1996-4577-BFDD-E2C51BF4BBC8}"/>
              </a:ext>
            </a:extLst>
          </p:cNvPr>
          <p:cNvSpPr txBox="1">
            <a:spLocks/>
          </p:cNvSpPr>
          <p:nvPr userDrawn="1"/>
        </p:nvSpPr>
        <p:spPr>
          <a:xfrm>
            <a:off x="7789043" y="3339620"/>
            <a:ext cx="2082408" cy="3003282"/>
          </a:xfrm>
          <a:prstGeom prst="rect">
            <a:avLst/>
          </a:prstGeom>
        </p:spPr>
        <p:txBody>
          <a:bodyPr lIns="0" tIns="0" rIns="0" bIns="0" numCol="1" spcCol="36000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Verdana" panose="020B0604030504040204" pitchFamily="34" charset="0"/>
              <a:buChar char="›"/>
              <a:defRPr/>
            </a:pPr>
            <a:r>
              <a:rPr lang="fr-FR" sz="1200" b="1" cap="all" baseline="0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titulé de la mission :</a:t>
            </a:r>
            <a:endParaRPr lang="fr-FR" sz="1200" cap="all" baseline="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indent="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216F9C"/>
              </a:buClr>
              <a:buFont typeface="Verdana" panose="020B0604030504040204" pitchFamily="34" charset="0"/>
              <a:buNone/>
              <a:defRPr/>
            </a:pPr>
            <a:endParaRPr lang="fr-FR" sz="1200" b="1" dirty="0">
              <a:solidFill>
                <a:srgbClr val="216F9C"/>
              </a:solidFill>
              <a:latin typeface="+mn-lt"/>
              <a:cs typeface="Arial" panose="020B0604020202020204" pitchFamily="34" charset="0"/>
            </a:endParaRPr>
          </a:p>
          <a:p>
            <a:pPr marL="144463" indent="-144463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Verdana" panose="020B0604030504040204" pitchFamily="34" charset="0"/>
              <a:buChar char="›"/>
              <a:defRPr/>
            </a:pPr>
            <a:r>
              <a:rPr lang="fr-FR" sz="1200" b="1" cap="all" baseline="0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Période : </a:t>
            </a:r>
          </a:p>
          <a:p>
            <a:pPr marL="144463" indent="-144463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Verdana" panose="020B0604030504040204" pitchFamily="34" charset="0"/>
              <a:buChar char="›"/>
              <a:defRPr/>
            </a:pPr>
            <a:r>
              <a:rPr lang="fr-FR" sz="1200" b="1" cap="all" baseline="0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udget : </a:t>
            </a:r>
          </a:p>
          <a:p>
            <a:pPr marL="144463" indent="-144463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Verdana" panose="020B0604030504040204" pitchFamily="34" charset="0"/>
              <a:buChar char="›"/>
              <a:defRPr/>
            </a:pPr>
            <a:r>
              <a:rPr lang="fr-FR" sz="1200" b="1" cap="all" baseline="0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tervenants :</a:t>
            </a:r>
          </a:p>
          <a:p>
            <a:pPr marL="144463" indent="-144463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216F9C"/>
              </a:buClr>
              <a:buFont typeface="Verdana" panose="020B0604030504040204" pitchFamily="34" charset="0"/>
              <a:buChar char="›"/>
              <a:defRPr/>
            </a:pPr>
            <a:endParaRPr lang="fr-FR" sz="1200" b="1" dirty="0">
              <a:solidFill>
                <a:srgbClr val="216F9C"/>
              </a:solidFill>
              <a:latin typeface="+mn-lt"/>
              <a:cs typeface="Arial" panose="020B0604020202020204" pitchFamily="34" charset="0"/>
            </a:endParaRPr>
          </a:p>
          <a:p>
            <a:pPr marL="144463" indent="-144463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chemeClr val="bg2"/>
              </a:buClr>
              <a:buFont typeface="Verdana" panose="020B0604030504040204" pitchFamily="34" charset="0"/>
              <a:buChar char="›"/>
              <a:defRPr/>
            </a:pPr>
            <a:r>
              <a:rPr lang="fr-FR" sz="1200" b="1" cap="all" baseline="0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Contact(s) :</a:t>
            </a:r>
          </a:p>
        </p:txBody>
      </p:sp>
      <p:sp>
        <p:nvSpPr>
          <p:cNvPr id="3" name="Espace réservé du texte 11">
            <a:extLst>
              <a:ext uri="{FF2B5EF4-FFF2-40B4-BE49-F238E27FC236}">
                <a16:creationId xmlns:a16="http://schemas.microsoft.com/office/drawing/2014/main" id="{0BD75523-8836-4188-94D2-E743A29CD0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892177" y="3699660"/>
            <a:ext cx="4079242" cy="42435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marL="0" marR="0" indent="0" algn="just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90000"/>
              <a:buFont typeface="Wingdings 3" pitchFamily="18" charset="2"/>
              <a:buNone/>
              <a:tabLst/>
              <a:defRPr sz="11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 3"/>
              </a:defRPr>
            </a:lvl1pPr>
            <a:lvl2pPr marL="628476" indent="-171402">
              <a:buClr>
                <a:srgbClr val="CC9900"/>
              </a:buClr>
              <a:buSzPct val="95000"/>
              <a:buFont typeface="Arial" pitchFamily="34" charset="0"/>
              <a:buChar char="•"/>
              <a:defRPr sz="1100" b="0">
                <a:latin typeface="Calibri" pitchFamily="34" charset="0"/>
                <a:cs typeface="Tahoma" pitchFamily="34" charset="0"/>
              </a:defRPr>
            </a:lvl2pPr>
            <a:lvl3pPr>
              <a:buClr>
                <a:srgbClr val="CC9900"/>
              </a:buClr>
              <a:buFont typeface="Arial" pitchFamily="34" charset="0"/>
              <a:buNone/>
              <a:defRPr sz="1200">
                <a:latin typeface="Calibri" pitchFamily="34" charset="0"/>
                <a:cs typeface="Tahoma" pitchFamily="34" charset="0"/>
              </a:defRPr>
            </a:lvl3pPr>
            <a:lvl4pPr>
              <a:defRPr sz="1200"/>
            </a:lvl4pPr>
            <a:lvl5pPr>
              <a:buNone/>
              <a:defRPr sz="1200"/>
            </a:lvl5pPr>
          </a:lstStyle>
          <a:p>
            <a:pPr marL="0" marR="0" lvl="0" indent="0" algn="just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90000"/>
              <a:buFont typeface="Wingdings 3" pitchFamily="18" charset="2"/>
              <a:buNone/>
              <a:tabLst/>
              <a:defRPr/>
            </a:pPr>
            <a:r>
              <a:rPr lang="fr-FR" dirty="0"/>
              <a:t>Modifiez les styles du texte du masque Modifiez les styles du texte du masqu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A2D3FCF7-73F4-448D-AA3D-01FA8494286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68927" y="4202339"/>
            <a:ext cx="3168213" cy="195306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Clr>
                <a:srgbClr val="CC9900"/>
              </a:buClr>
              <a:buSzPct val="90000"/>
              <a:buFont typeface="Wingdings 3" pitchFamily="18" charset="2"/>
              <a:buNone/>
              <a:defRPr sz="11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 3"/>
              </a:defRPr>
            </a:lvl1pPr>
            <a:lvl2pPr marL="628476" indent="-171402">
              <a:buClr>
                <a:srgbClr val="CC9900"/>
              </a:buClr>
              <a:buSzPct val="95000"/>
              <a:buFont typeface="Arial" pitchFamily="34" charset="0"/>
              <a:buChar char="•"/>
              <a:defRPr sz="1100" b="0">
                <a:latin typeface="Calibri" pitchFamily="34" charset="0"/>
                <a:cs typeface="Tahoma" pitchFamily="34" charset="0"/>
              </a:defRPr>
            </a:lvl2pPr>
            <a:lvl3pPr>
              <a:buClr>
                <a:srgbClr val="CC9900"/>
              </a:buClr>
              <a:buFont typeface="Arial" pitchFamily="34" charset="0"/>
              <a:buNone/>
              <a:defRPr sz="1200">
                <a:latin typeface="Calibri" pitchFamily="34" charset="0"/>
                <a:cs typeface="Tahoma" pitchFamily="34" charset="0"/>
              </a:defRPr>
            </a:lvl3pPr>
            <a:lvl4pPr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9" name="Espace réservé du texte 11">
            <a:extLst>
              <a:ext uri="{FF2B5EF4-FFF2-40B4-BE49-F238E27FC236}">
                <a16:creationId xmlns:a16="http://schemas.microsoft.com/office/drawing/2014/main" id="{F59420CF-536C-4501-B70D-914DE8F6B7D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668927" y="4563756"/>
            <a:ext cx="3168213" cy="19530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1400"/>
              </a:lnSpc>
              <a:spcBef>
                <a:spcPts val="0"/>
              </a:spcBef>
              <a:buClr>
                <a:srgbClr val="CC9900"/>
              </a:buClr>
              <a:buSzPct val="90000"/>
              <a:buFont typeface="Wingdings 3" pitchFamily="18" charset="2"/>
              <a:buNone/>
              <a:defRPr sz="11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 3"/>
              </a:defRPr>
            </a:lvl1pPr>
            <a:lvl2pPr marL="628476" indent="-171402">
              <a:buClr>
                <a:srgbClr val="CC9900"/>
              </a:buClr>
              <a:buSzPct val="95000"/>
              <a:buFont typeface="Arial" pitchFamily="34" charset="0"/>
              <a:buChar char="•"/>
              <a:defRPr sz="1100" b="0">
                <a:latin typeface="Calibri" pitchFamily="34" charset="0"/>
                <a:cs typeface="Tahoma" pitchFamily="34" charset="0"/>
              </a:defRPr>
            </a:lvl2pPr>
            <a:lvl3pPr>
              <a:buClr>
                <a:srgbClr val="CC9900"/>
              </a:buClr>
              <a:buFont typeface="Arial" pitchFamily="34" charset="0"/>
              <a:buNone/>
              <a:defRPr sz="1200">
                <a:latin typeface="Calibri" pitchFamily="34" charset="0"/>
                <a:cs typeface="Tahoma" pitchFamily="34" charset="0"/>
              </a:defRPr>
            </a:lvl3pPr>
            <a:lvl4pPr>
              <a:defRPr sz="1200"/>
            </a:lvl4pPr>
            <a:lvl5pPr>
              <a:buNone/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0" name="Espace réservé du texte 11">
            <a:extLst>
              <a:ext uri="{FF2B5EF4-FFF2-40B4-BE49-F238E27FC236}">
                <a16:creationId xmlns:a16="http://schemas.microsoft.com/office/drawing/2014/main" id="{5CF25AE7-92CE-4D2C-9447-0461C30447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892176" y="5139820"/>
            <a:ext cx="4071889" cy="39836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marL="0" marR="0" indent="0" algn="just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90000"/>
              <a:buFont typeface="Wingdings 3" pitchFamily="18" charset="2"/>
              <a:buNone/>
              <a:tabLst/>
              <a:defRPr sz="11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 3"/>
              </a:defRPr>
            </a:lvl1pPr>
            <a:lvl2pPr marL="628476" indent="-171402">
              <a:buClr>
                <a:srgbClr val="CC9900"/>
              </a:buClr>
              <a:buSzPct val="95000"/>
              <a:buFont typeface="Arial" pitchFamily="34" charset="0"/>
              <a:buChar char="•"/>
              <a:defRPr sz="1100" b="0">
                <a:latin typeface="Calibri" pitchFamily="34" charset="0"/>
                <a:cs typeface="Tahoma" pitchFamily="34" charset="0"/>
              </a:defRPr>
            </a:lvl2pPr>
            <a:lvl3pPr>
              <a:buClr>
                <a:srgbClr val="CC9900"/>
              </a:buClr>
              <a:buFont typeface="Arial" pitchFamily="34" charset="0"/>
              <a:buNone/>
              <a:defRPr sz="1200">
                <a:latin typeface="Calibri" pitchFamily="34" charset="0"/>
                <a:cs typeface="Tahoma" pitchFamily="34" charset="0"/>
              </a:defRPr>
            </a:lvl3pPr>
            <a:lvl4pPr>
              <a:defRPr sz="1200"/>
            </a:lvl4pPr>
            <a:lvl5pPr>
              <a:buNone/>
              <a:defRPr sz="1200"/>
            </a:lvl5pPr>
          </a:lstStyle>
          <a:p>
            <a:pPr marL="0" marR="0" lvl="0" indent="0" algn="just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90000"/>
              <a:buFont typeface="Wingdings 3" pitchFamily="18" charset="2"/>
              <a:buNone/>
              <a:tabLst/>
              <a:defRPr/>
            </a:pPr>
            <a:r>
              <a:rPr lang="fr-FR" dirty="0"/>
              <a:t>Modifiez les styles du texte du masque Modifiez les styles du texte du masque</a:t>
            </a:r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6F188910-5158-46AA-8391-79CB34B05AE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892176" y="5859900"/>
            <a:ext cx="4071889" cy="39375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noAutofit/>
          </a:bodyPr>
          <a:lstStyle>
            <a:lvl1pPr marL="0" marR="0" indent="0" algn="just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90000"/>
              <a:buFont typeface="Wingdings 3" pitchFamily="18" charset="2"/>
              <a:buNone/>
              <a:tabLst/>
              <a:defRPr sz="11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 3"/>
              </a:defRPr>
            </a:lvl1pPr>
            <a:lvl2pPr marL="628476" indent="-171402">
              <a:buClr>
                <a:srgbClr val="CC9900"/>
              </a:buClr>
              <a:buSzPct val="95000"/>
              <a:buFont typeface="Arial" pitchFamily="34" charset="0"/>
              <a:buChar char="•"/>
              <a:defRPr sz="1100" b="0">
                <a:latin typeface="Calibri" pitchFamily="34" charset="0"/>
                <a:cs typeface="Tahoma" pitchFamily="34" charset="0"/>
              </a:defRPr>
            </a:lvl2pPr>
            <a:lvl3pPr>
              <a:buClr>
                <a:srgbClr val="CC9900"/>
              </a:buClr>
              <a:buFont typeface="Arial" pitchFamily="34" charset="0"/>
              <a:buNone/>
              <a:defRPr sz="1200">
                <a:latin typeface="Calibri" pitchFamily="34" charset="0"/>
                <a:cs typeface="Tahoma" pitchFamily="34" charset="0"/>
              </a:defRPr>
            </a:lvl3pPr>
            <a:lvl4pPr>
              <a:defRPr sz="1200"/>
            </a:lvl4pPr>
            <a:lvl5pPr>
              <a:buNone/>
              <a:defRPr sz="1200"/>
            </a:lvl5pPr>
          </a:lstStyle>
          <a:p>
            <a:pPr marL="0" marR="0" lvl="0" indent="0" algn="just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90000"/>
              <a:buFont typeface="Wingdings 3" pitchFamily="18" charset="2"/>
              <a:buNone/>
              <a:tabLst/>
              <a:defRPr/>
            </a:pPr>
            <a:r>
              <a:rPr lang="fr-FR" dirty="0"/>
              <a:t>Modifiez les styles du texte du masque 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640694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age de fin">
    <p:bg>
      <p:bgPr>
        <a:gradFill>
          <a:gsLst>
            <a:gs pos="0">
              <a:schemeClr val="accent3"/>
            </a:gs>
            <a:gs pos="60000">
              <a:schemeClr val="bg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3D63626-F919-011E-D26C-3517B1D7F6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AD4FF-3335-4053-8610-CED0EB87F8ED}" type="datetime1">
              <a:rPr lang="fr-FR" smtClean="0"/>
              <a:t>16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EB9B35-CA5B-6420-97D9-74ECE303C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7EF70A6-CBBA-02B4-B370-9F4D172B3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1D6A8A62-1B19-08F4-052A-2C6B0E353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E5A09064-D760-FBF3-28A6-1E6D40B3EDBA}"/>
              </a:ext>
            </a:extLst>
          </p:cNvPr>
          <p:cNvCxnSpPr/>
          <p:nvPr userDrawn="1"/>
        </p:nvCxnSpPr>
        <p:spPr>
          <a:xfrm>
            <a:off x="11366720" y="6356350"/>
            <a:ext cx="0" cy="50165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que 13">
            <a:extLst>
              <a:ext uri="{FF2B5EF4-FFF2-40B4-BE49-F238E27FC236}">
                <a16:creationId xmlns:a16="http://schemas.microsoft.com/office/drawing/2014/main" id="{3C89C52F-6273-6884-3362-A72E720FE7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193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fin">
    <p:bg>
      <p:bgPr>
        <a:gradFill>
          <a:gsLst>
            <a:gs pos="0">
              <a:schemeClr val="accent3"/>
            </a:gs>
            <a:gs pos="60000">
              <a:schemeClr val="bg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3D63626-F919-011E-D26C-3517B1D7F68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C6805475-D32B-4F95-A565-53780C34CAD1}" type="datetime1">
              <a:rPr lang="fr-FR" smtClean="0"/>
              <a:t>16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6EB9B35-CA5B-6420-97D9-74ECE303CE7D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7EF70A6-CBBA-02B4-B370-9F4D172B3D8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2322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EDC66AD-FC4C-5FE2-4DF8-C583514261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69987"/>
            <a:ext cx="5181600" cy="5006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BC270EB-5867-B947-29A6-E5A0CE8A53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69987"/>
            <a:ext cx="5181600" cy="50069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5E4AAB02-C9C3-8BC4-9013-73D96D9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D3F7C-056E-45EE-86D5-80EB56B9B0EF}" type="datetime1">
              <a:rPr lang="fr-FR" smtClean="0"/>
              <a:t>16/09/2024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4151D808-EADB-F900-D588-1F614158F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BD712D3F-999C-6A6D-C467-F34817B49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D421CFC-357C-1022-266A-123772C77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314820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6A8E8E2-2FE0-5378-9CE7-852698E53D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185864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1F05E4F-2B88-E7E2-C089-CC11FDBE4D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176463"/>
            <a:ext cx="5157787" cy="40132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9D2AA0A6-622E-A878-BA86-337197F6FB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185864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27EA474D-D53F-4D03-53A4-CF856664B3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176463"/>
            <a:ext cx="5183188" cy="40132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22160BCA-FD72-E15C-18A2-A6D682E34C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15818-65E9-4848-BE4F-963C5701BC76}" type="datetime1">
              <a:rPr lang="fr-FR" smtClean="0"/>
              <a:t>16/09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80519E02-C0A2-BFAD-47DC-F4FC80E4E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Votre conformité RGPD mérite un logiciel performant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808DC7A-E792-8FB1-F7F6-D163FBC73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F051A-2C40-4DB4-9DB8-47983C4B5745}" type="slidenum">
              <a:rPr lang="fr-FR" smtClean="0"/>
              <a:t>‹N°›</a:t>
            </a:fld>
            <a:endParaRPr lang="fr-FR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A37C5830-D177-EA19-FDBD-26D5B66AD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496044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image" Target="../media/image2.sv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e 20">
            <a:extLst>
              <a:ext uri="{FF2B5EF4-FFF2-40B4-BE49-F238E27FC236}">
                <a16:creationId xmlns:a16="http://schemas.microsoft.com/office/drawing/2014/main" id="{12EA39F5-A778-CFF0-88B2-5EC4BF7EF25E}"/>
              </a:ext>
            </a:extLst>
          </p:cNvPr>
          <p:cNvGrpSpPr/>
          <p:nvPr userDrawn="1"/>
        </p:nvGrpSpPr>
        <p:grpSpPr>
          <a:xfrm>
            <a:off x="6235107" y="-5123"/>
            <a:ext cx="5949163" cy="6869295"/>
            <a:chOff x="6235107" y="-5123"/>
            <a:chExt cx="5949163" cy="6869295"/>
          </a:xfrm>
        </p:grpSpPr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DEBE2F2F-CB87-7AB7-6BDC-4525ED8A7652}"/>
                </a:ext>
              </a:extLst>
            </p:cNvPr>
            <p:cNvSpPr/>
            <p:nvPr/>
          </p:nvSpPr>
          <p:spPr>
            <a:xfrm>
              <a:off x="9866728" y="-5123"/>
              <a:ext cx="2317542" cy="2722337"/>
            </a:xfrm>
            <a:custGeom>
              <a:avLst/>
              <a:gdLst>
                <a:gd name="connsiteX0" fmla="*/ 0 w 2317542"/>
                <a:gd name="connsiteY0" fmla="*/ 1552444 h 2722337"/>
                <a:gd name="connsiteX1" fmla="*/ 711734 w 2317542"/>
                <a:gd name="connsiteY1" fmla="*/ 2722338 h 2722337"/>
                <a:gd name="connsiteX2" fmla="*/ 2317543 w 2317542"/>
                <a:gd name="connsiteY2" fmla="*/ 0 h 2722337"/>
                <a:gd name="connsiteX3" fmla="*/ 1026971 w 2317542"/>
                <a:gd name="connsiteY3" fmla="*/ 0 h 2722337"/>
                <a:gd name="connsiteX4" fmla="*/ 0 w 2317542"/>
                <a:gd name="connsiteY4" fmla="*/ 1552444 h 272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7542" h="2722337">
                  <a:moveTo>
                    <a:pt x="0" y="1552444"/>
                  </a:moveTo>
                  <a:lnTo>
                    <a:pt x="711734" y="2722338"/>
                  </a:lnTo>
                  <a:lnTo>
                    <a:pt x="2317543" y="0"/>
                  </a:lnTo>
                  <a:lnTo>
                    <a:pt x="1026971" y="0"/>
                  </a:lnTo>
                  <a:lnTo>
                    <a:pt x="0" y="1552444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C1A7B682-DD3A-3180-1056-9BB96F1BD9A4}"/>
                </a:ext>
              </a:extLst>
            </p:cNvPr>
            <p:cNvSpPr/>
            <p:nvPr/>
          </p:nvSpPr>
          <p:spPr>
            <a:xfrm>
              <a:off x="6235107" y="-5123"/>
              <a:ext cx="3710580" cy="6869295"/>
            </a:xfrm>
            <a:custGeom>
              <a:avLst/>
              <a:gdLst>
                <a:gd name="connsiteX0" fmla="*/ 1395113 w 3710580"/>
                <a:gd name="connsiteY0" fmla="*/ 0 h 6869295"/>
                <a:gd name="connsiteX1" fmla="*/ 0 w 3710580"/>
                <a:gd name="connsiteY1" fmla="*/ 0 h 6869295"/>
                <a:gd name="connsiteX2" fmla="*/ 2420009 w 3710580"/>
                <a:gd name="connsiteY2" fmla="*/ 3821462 h 6869295"/>
                <a:gd name="connsiteX3" fmla="*/ 2420009 w 3710580"/>
                <a:gd name="connsiteY3" fmla="*/ 6869296 h 6869295"/>
                <a:gd name="connsiteX4" fmla="*/ 3710581 w 3710580"/>
                <a:gd name="connsiteY4" fmla="*/ 6869296 h 6869295"/>
                <a:gd name="connsiteX5" fmla="*/ 3710581 w 3710580"/>
                <a:gd name="connsiteY5" fmla="*/ 3802444 h 6869295"/>
                <a:gd name="connsiteX6" fmla="*/ 3259797 w 3710580"/>
                <a:gd name="connsiteY6" fmla="*/ 3117797 h 6869295"/>
                <a:gd name="connsiteX7" fmla="*/ 1395113 w 3710580"/>
                <a:gd name="connsiteY7" fmla="*/ 0 h 686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0580" h="6869295">
                  <a:moveTo>
                    <a:pt x="1395113" y="0"/>
                  </a:moveTo>
                  <a:lnTo>
                    <a:pt x="0" y="0"/>
                  </a:lnTo>
                  <a:lnTo>
                    <a:pt x="2420009" y="3821462"/>
                  </a:lnTo>
                  <a:lnTo>
                    <a:pt x="2420009" y="6869296"/>
                  </a:lnTo>
                  <a:lnTo>
                    <a:pt x="3710581" y="6869296"/>
                  </a:lnTo>
                  <a:lnTo>
                    <a:pt x="3710581" y="3802444"/>
                  </a:lnTo>
                  <a:lnTo>
                    <a:pt x="3259797" y="3117797"/>
                  </a:lnTo>
                  <a:lnTo>
                    <a:pt x="1395113" y="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  <a:alpha val="30000"/>
              </a:schemeClr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</p:grp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CD7B2656-DE8F-6FFC-EEDC-0095C59F2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54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74C9CD7-095B-7A47-407E-F2E2745B8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75657"/>
            <a:ext cx="10515600" cy="5001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868F2FE-0354-0D0A-DF41-57334814ED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2868" y="6338005"/>
            <a:ext cx="11212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874EDBCF-5332-4277-B1A0-3F05F0B18034}" type="datetime1">
              <a:rPr lang="fr-FR" smtClean="0"/>
              <a:t>16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04C9E43-E05C-794F-BDE7-256C2E21B0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38004"/>
            <a:ext cx="50370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2F7A813-F776-46A9-DFE0-9B8E91231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40720" y="6356350"/>
            <a:ext cx="513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58C0A7BD-E2F8-A4FF-853C-EE6CB5C69CE4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12C421B2-2909-C84D-E837-2A17CB8FF1C0}"/>
              </a:ext>
            </a:extLst>
          </p:cNvPr>
          <p:cNvCxnSpPr>
            <a:cxnSpLocks/>
          </p:cNvCxnSpPr>
          <p:nvPr userDrawn="1"/>
        </p:nvCxnSpPr>
        <p:spPr>
          <a:xfrm>
            <a:off x="17221200" y="9625219"/>
            <a:ext cx="0" cy="68259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7149F3BA-B290-0137-CBB7-41BA7AF09AB7}"/>
              </a:ext>
            </a:extLst>
          </p:cNvPr>
          <p:cNvCxnSpPr/>
          <p:nvPr userDrawn="1"/>
        </p:nvCxnSpPr>
        <p:spPr>
          <a:xfrm>
            <a:off x="11366720" y="6356350"/>
            <a:ext cx="0" cy="50165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9276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7" r:id="rId3"/>
    <p:sldLayoutId id="2147483651" r:id="rId4"/>
    <p:sldLayoutId id="2147483663" r:id="rId5"/>
    <p:sldLayoutId id="2147483674" r:id="rId6"/>
    <p:sldLayoutId id="2147483662" r:id="rId7"/>
    <p:sldLayoutId id="2147483652" r:id="rId8"/>
    <p:sldLayoutId id="2147483653" r:id="rId9"/>
    <p:sldLayoutId id="2147483654" r:id="rId10"/>
    <p:sldLayoutId id="2147483668" r:id="rId11"/>
    <p:sldLayoutId id="2147483673" r:id="rId12"/>
    <p:sldLayoutId id="2147483672" r:id="rId13"/>
    <p:sldLayoutId id="2147483660" r:id="rId14"/>
    <p:sldLayoutId id="2147483670" r:id="rId15"/>
    <p:sldLayoutId id="2147483655" r:id="rId16"/>
    <p:sldLayoutId id="2147483671" r:id="rId17"/>
    <p:sldLayoutId id="2147483656" r:id="rId18"/>
    <p:sldLayoutId id="2147483657" r:id="rId19"/>
    <p:sldLayoutId id="2147483661" r:id="rId20"/>
    <p:sldLayoutId id="2147483658" r:id="rId21"/>
    <p:sldLayoutId id="2147483659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71463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4863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7913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e 20">
            <a:extLst>
              <a:ext uri="{FF2B5EF4-FFF2-40B4-BE49-F238E27FC236}">
                <a16:creationId xmlns:a16="http://schemas.microsoft.com/office/drawing/2014/main" id="{12EA39F5-A778-CFF0-88B2-5EC4BF7EF25E}"/>
              </a:ext>
            </a:extLst>
          </p:cNvPr>
          <p:cNvGrpSpPr/>
          <p:nvPr userDrawn="1"/>
        </p:nvGrpSpPr>
        <p:grpSpPr>
          <a:xfrm>
            <a:off x="6235107" y="-5123"/>
            <a:ext cx="5949163" cy="6869295"/>
            <a:chOff x="6235107" y="-5123"/>
            <a:chExt cx="5949163" cy="6869295"/>
          </a:xfrm>
        </p:grpSpPr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DEBE2F2F-CB87-7AB7-6BDC-4525ED8A7652}"/>
                </a:ext>
              </a:extLst>
            </p:cNvPr>
            <p:cNvSpPr/>
            <p:nvPr/>
          </p:nvSpPr>
          <p:spPr>
            <a:xfrm>
              <a:off x="9866728" y="-5123"/>
              <a:ext cx="2317542" cy="2722337"/>
            </a:xfrm>
            <a:custGeom>
              <a:avLst/>
              <a:gdLst>
                <a:gd name="connsiteX0" fmla="*/ 0 w 2317542"/>
                <a:gd name="connsiteY0" fmla="*/ 1552444 h 2722337"/>
                <a:gd name="connsiteX1" fmla="*/ 711734 w 2317542"/>
                <a:gd name="connsiteY1" fmla="*/ 2722338 h 2722337"/>
                <a:gd name="connsiteX2" fmla="*/ 2317543 w 2317542"/>
                <a:gd name="connsiteY2" fmla="*/ 0 h 2722337"/>
                <a:gd name="connsiteX3" fmla="*/ 1026971 w 2317542"/>
                <a:gd name="connsiteY3" fmla="*/ 0 h 2722337"/>
                <a:gd name="connsiteX4" fmla="*/ 0 w 2317542"/>
                <a:gd name="connsiteY4" fmla="*/ 1552444 h 2722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7542" h="2722337">
                  <a:moveTo>
                    <a:pt x="0" y="1552444"/>
                  </a:moveTo>
                  <a:lnTo>
                    <a:pt x="711734" y="2722338"/>
                  </a:lnTo>
                  <a:lnTo>
                    <a:pt x="2317543" y="0"/>
                  </a:lnTo>
                  <a:lnTo>
                    <a:pt x="1026971" y="0"/>
                  </a:lnTo>
                  <a:lnTo>
                    <a:pt x="0" y="1552444"/>
                  </a:lnTo>
                  <a:close/>
                </a:path>
              </a:pathLst>
            </a:custGeom>
            <a:solidFill>
              <a:schemeClr val="accent2">
                <a:alpha val="30000"/>
              </a:schemeClr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6" name="Forme libre : forme 15">
              <a:extLst>
                <a:ext uri="{FF2B5EF4-FFF2-40B4-BE49-F238E27FC236}">
                  <a16:creationId xmlns:a16="http://schemas.microsoft.com/office/drawing/2014/main" id="{C1A7B682-DD3A-3180-1056-9BB96F1BD9A4}"/>
                </a:ext>
              </a:extLst>
            </p:cNvPr>
            <p:cNvSpPr/>
            <p:nvPr/>
          </p:nvSpPr>
          <p:spPr>
            <a:xfrm>
              <a:off x="6235107" y="-5123"/>
              <a:ext cx="3710580" cy="6869295"/>
            </a:xfrm>
            <a:custGeom>
              <a:avLst/>
              <a:gdLst>
                <a:gd name="connsiteX0" fmla="*/ 1395113 w 3710580"/>
                <a:gd name="connsiteY0" fmla="*/ 0 h 6869295"/>
                <a:gd name="connsiteX1" fmla="*/ 0 w 3710580"/>
                <a:gd name="connsiteY1" fmla="*/ 0 h 6869295"/>
                <a:gd name="connsiteX2" fmla="*/ 2420009 w 3710580"/>
                <a:gd name="connsiteY2" fmla="*/ 3821462 h 6869295"/>
                <a:gd name="connsiteX3" fmla="*/ 2420009 w 3710580"/>
                <a:gd name="connsiteY3" fmla="*/ 6869296 h 6869295"/>
                <a:gd name="connsiteX4" fmla="*/ 3710581 w 3710580"/>
                <a:gd name="connsiteY4" fmla="*/ 6869296 h 6869295"/>
                <a:gd name="connsiteX5" fmla="*/ 3710581 w 3710580"/>
                <a:gd name="connsiteY5" fmla="*/ 3802444 h 6869295"/>
                <a:gd name="connsiteX6" fmla="*/ 3259797 w 3710580"/>
                <a:gd name="connsiteY6" fmla="*/ 3117797 h 6869295"/>
                <a:gd name="connsiteX7" fmla="*/ 1395113 w 3710580"/>
                <a:gd name="connsiteY7" fmla="*/ 0 h 6869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10580" h="6869295">
                  <a:moveTo>
                    <a:pt x="1395113" y="0"/>
                  </a:moveTo>
                  <a:lnTo>
                    <a:pt x="0" y="0"/>
                  </a:lnTo>
                  <a:lnTo>
                    <a:pt x="2420009" y="3821462"/>
                  </a:lnTo>
                  <a:lnTo>
                    <a:pt x="2420009" y="6869296"/>
                  </a:lnTo>
                  <a:lnTo>
                    <a:pt x="3710581" y="6869296"/>
                  </a:lnTo>
                  <a:lnTo>
                    <a:pt x="3710581" y="3802444"/>
                  </a:lnTo>
                  <a:lnTo>
                    <a:pt x="3259797" y="3117797"/>
                  </a:lnTo>
                  <a:lnTo>
                    <a:pt x="1395113" y="0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  <a:alpha val="30000"/>
              </a:schemeClr>
            </a:solidFill>
            <a:ln w="115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</p:grp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CD7B2656-DE8F-6FFC-EEDC-0095C59F2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54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74C9CD7-095B-7A47-407E-F2E2745B8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75657"/>
            <a:ext cx="10515600" cy="5001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868F2FE-0354-0D0A-DF41-57334814ED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2868" y="6338005"/>
            <a:ext cx="11212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181FE7A-1304-4F55-AA6C-406BBDD06CD1}" type="datetime1">
              <a:rPr lang="fr-FR" smtClean="0"/>
              <a:t>16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04C9E43-E05C-794F-BDE7-256C2E21B0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38004"/>
            <a:ext cx="50370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2F7A813-F776-46A9-DFE0-9B8E91231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40720" y="6356350"/>
            <a:ext cx="5130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B60F051A-2C40-4DB4-9DB8-47983C4B5745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58C0A7BD-E2F8-A4FF-853C-EE6CB5C69CE4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12C421B2-2909-C84D-E837-2A17CB8FF1C0}"/>
              </a:ext>
            </a:extLst>
          </p:cNvPr>
          <p:cNvCxnSpPr>
            <a:cxnSpLocks/>
          </p:cNvCxnSpPr>
          <p:nvPr userDrawn="1"/>
        </p:nvCxnSpPr>
        <p:spPr>
          <a:xfrm>
            <a:off x="17221200" y="9625219"/>
            <a:ext cx="0" cy="68259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7149F3BA-B290-0137-CBB7-41BA7AF09AB7}"/>
              </a:ext>
            </a:extLst>
          </p:cNvPr>
          <p:cNvCxnSpPr/>
          <p:nvPr userDrawn="1"/>
        </p:nvCxnSpPr>
        <p:spPr>
          <a:xfrm>
            <a:off x="11366720" y="6356350"/>
            <a:ext cx="0" cy="50165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4718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71463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04863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7913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C675B620-936B-42D7-BEB6-B02480073829}"/>
              </a:ext>
            </a:extLst>
          </p:cNvPr>
          <p:cNvSpPr/>
          <p:nvPr userDrawn="1"/>
        </p:nvSpPr>
        <p:spPr>
          <a:xfrm>
            <a:off x="-475252" y="2924979"/>
            <a:ext cx="195260" cy="237507"/>
          </a:xfrm>
          <a:prstGeom prst="rect">
            <a:avLst/>
          </a:prstGeom>
          <a:solidFill>
            <a:srgbClr val="FFAE0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F15106"/>
                </a:solidFill>
                <a:effectLst/>
                <a:uLnTx/>
                <a:uFillTx/>
              </a:rPr>
              <a:t>A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8A0A3A0-7B14-4F3D-830C-F5E80A084766}"/>
              </a:ext>
            </a:extLst>
          </p:cNvPr>
          <p:cNvSpPr/>
          <p:nvPr userDrawn="1"/>
        </p:nvSpPr>
        <p:spPr>
          <a:xfrm>
            <a:off x="-475252" y="3526475"/>
            <a:ext cx="195261" cy="237507"/>
          </a:xfrm>
          <a:prstGeom prst="rect">
            <a:avLst/>
          </a:prstGeom>
          <a:solidFill>
            <a:srgbClr val="00484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C2BB"/>
                </a:solidFill>
                <a:effectLst/>
                <a:uLnTx/>
                <a:uFillTx/>
              </a:rPr>
              <a:t>A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4D4AE98-0540-4AAB-A97C-FE739D1CA935}"/>
              </a:ext>
            </a:extLst>
          </p:cNvPr>
          <p:cNvSpPr/>
          <p:nvPr userDrawn="1"/>
        </p:nvSpPr>
        <p:spPr>
          <a:xfrm>
            <a:off x="-475252" y="2323483"/>
            <a:ext cx="195261" cy="237507"/>
          </a:xfrm>
          <a:prstGeom prst="rect">
            <a:avLst/>
          </a:prstGeom>
          <a:solidFill>
            <a:srgbClr val="11245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95D9"/>
                </a:solidFill>
                <a:effectLst/>
                <a:uLnTx/>
                <a:uFillTx/>
              </a:rPr>
              <a:t>A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A2706E4-A25A-4CD5-B641-DBE4EE9C5F3C}"/>
              </a:ext>
            </a:extLst>
          </p:cNvPr>
          <p:cNvSpPr/>
          <p:nvPr userDrawn="1"/>
        </p:nvSpPr>
        <p:spPr>
          <a:xfrm>
            <a:off x="-475252" y="3225727"/>
            <a:ext cx="195261" cy="237507"/>
          </a:xfrm>
          <a:prstGeom prst="rect">
            <a:avLst/>
          </a:prstGeom>
          <a:solidFill>
            <a:srgbClr val="F2550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FFAE0E"/>
                </a:solidFill>
                <a:effectLst/>
                <a:uLnTx/>
                <a:uFillTx/>
              </a:rPr>
              <a:t>A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F2E7C66-429B-4DD0-BCED-8A26DF39AE29}"/>
              </a:ext>
            </a:extLst>
          </p:cNvPr>
          <p:cNvSpPr/>
          <p:nvPr userDrawn="1"/>
        </p:nvSpPr>
        <p:spPr>
          <a:xfrm>
            <a:off x="-475252" y="3827223"/>
            <a:ext cx="195261" cy="237507"/>
          </a:xfrm>
          <a:prstGeom prst="rect">
            <a:avLst/>
          </a:prstGeom>
          <a:solidFill>
            <a:srgbClr val="00A7A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484E"/>
                </a:solidFill>
                <a:effectLst/>
                <a:uLnTx/>
                <a:uFillTx/>
              </a:rPr>
              <a:t>A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8ACA909-E589-4A8D-BE4E-B1BCFC832DDD}"/>
              </a:ext>
            </a:extLst>
          </p:cNvPr>
          <p:cNvSpPr/>
          <p:nvPr userDrawn="1"/>
        </p:nvSpPr>
        <p:spPr>
          <a:xfrm>
            <a:off x="-475252" y="2624231"/>
            <a:ext cx="195261" cy="237507"/>
          </a:xfrm>
          <a:prstGeom prst="rect">
            <a:avLst/>
          </a:prstGeom>
          <a:solidFill>
            <a:srgbClr val="0095D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</a:rPr>
              <a:t>A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B20BB86-C439-4B35-8E03-7EFA63483DD8}"/>
              </a:ext>
            </a:extLst>
          </p:cNvPr>
          <p:cNvSpPr/>
          <p:nvPr userDrawn="1"/>
        </p:nvSpPr>
        <p:spPr>
          <a:xfrm>
            <a:off x="-475252" y="2022735"/>
            <a:ext cx="195261" cy="237507"/>
          </a:xfrm>
          <a:prstGeom prst="rect">
            <a:avLst/>
          </a:prstGeom>
          <a:solidFill>
            <a:srgbClr val="11245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5783AA1-E570-48F4-8008-F64D122DBC81}"/>
              </a:ext>
            </a:extLst>
          </p:cNvPr>
          <p:cNvSpPr/>
          <p:nvPr userDrawn="1"/>
        </p:nvSpPr>
        <p:spPr>
          <a:xfrm>
            <a:off x="-475253" y="1721987"/>
            <a:ext cx="195261" cy="237507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D7E67EF-2187-4F06-A8ED-D7B515FC6021}"/>
              </a:ext>
            </a:extLst>
          </p:cNvPr>
          <p:cNvSpPr/>
          <p:nvPr userDrawn="1"/>
        </p:nvSpPr>
        <p:spPr>
          <a:xfrm>
            <a:off x="-1195450" y="386214"/>
            <a:ext cx="1116000" cy="180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lice : Calibri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A890DAF-3EFF-4E3E-9DC9-91A6BE701D84}"/>
              </a:ext>
            </a:extLst>
          </p:cNvPr>
          <p:cNvSpPr/>
          <p:nvPr userDrawn="1"/>
        </p:nvSpPr>
        <p:spPr>
          <a:xfrm>
            <a:off x="-1195450" y="650490"/>
            <a:ext cx="1116000" cy="180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0095D9"/>
                </a:solidFill>
                <a:effectLst/>
                <a:uLnTx/>
                <a:uFillTx/>
              </a:rPr>
              <a:t>Titre – taille 32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5DB75A5-9945-4D75-8C84-F15414BE4144}"/>
              </a:ext>
            </a:extLst>
          </p:cNvPr>
          <p:cNvSpPr/>
          <p:nvPr userDrawn="1"/>
        </p:nvSpPr>
        <p:spPr>
          <a:xfrm>
            <a:off x="-1195450" y="914766"/>
            <a:ext cx="1116000" cy="180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hapô - taille 16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F92D495A-642C-4CA9-98C9-ECDB4452AC7C}"/>
              </a:ext>
            </a:extLst>
          </p:cNvPr>
          <p:cNvSpPr/>
          <p:nvPr userDrawn="1"/>
        </p:nvSpPr>
        <p:spPr>
          <a:xfrm>
            <a:off x="-1195450" y="1179042"/>
            <a:ext cx="1116000" cy="180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tertitre – Taille 14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F12E082-08F1-418C-9CA6-557EA52C23D9}"/>
              </a:ext>
            </a:extLst>
          </p:cNvPr>
          <p:cNvSpPr/>
          <p:nvPr userDrawn="1"/>
        </p:nvSpPr>
        <p:spPr>
          <a:xfrm>
            <a:off x="-1195450" y="1452989"/>
            <a:ext cx="1116000" cy="180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e – Taille 12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30716F6-7178-4C56-B99C-991382766CFE}"/>
              </a:ext>
            </a:extLst>
          </p:cNvPr>
          <p:cNvSpPr/>
          <p:nvPr userDrawn="1"/>
        </p:nvSpPr>
        <p:spPr>
          <a:xfrm>
            <a:off x="-706814" y="2322709"/>
            <a:ext cx="194400" cy="237600"/>
          </a:xfrm>
          <a:prstGeom prst="rect">
            <a:avLst/>
          </a:prstGeom>
          <a:solidFill>
            <a:srgbClr val="11245E">
              <a:alpha val="1882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9703631-6275-41D9-B3B2-F6CCACD50FDE}"/>
              </a:ext>
            </a:extLst>
          </p:cNvPr>
          <p:cNvSpPr/>
          <p:nvPr userDrawn="1"/>
        </p:nvSpPr>
        <p:spPr>
          <a:xfrm>
            <a:off x="-706814" y="3526382"/>
            <a:ext cx="194400" cy="237600"/>
          </a:xfrm>
          <a:prstGeom prst="rect">
            <a:avLst/>
          </a:prstGeom>
          <a:solidFill>
            <a:srgbClr val="00484E">
              <a:alpha val="1882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A7EB62D-BC7E-4CF5-83D0-CEEE5DD6FDE4}"/>
              </a:ext>
            </a:extLst>
          </p:cNvPr>
          <p:cNvSpPr/>
          <p:nvPr userDrawn="1"/>
        </p:nvSpPr>
        <p:spPr>
          <a:xfrm>
            <a:off x="-706814" y="2624138"/>
            <a:ext cx="194400" cy="237600"/>
          </a:xfrm>
          <a:prstGeom prst="rect">
            <a:avLst/>
          </a:prstGeom>
          <a:solidFill>
            <a:srgbClr val="0095D9">
              <a:alpha val="1882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BABB6C4E-5264-4D53-A44E-69012931F85C}"/>
              </a:ext>
            </a:extLst>
          </p:cNvPr>
          <p:cNvSpPr/>
          <p:nvPr userDrawn="1"/>
        </p:nvSpPr>
        <p:spPr>
          <a:xfrm>
            <a:off x="-706814" y="2925567"/>
            <a:ext cx="194400" cy="237600"/>
          </a:xfrm>
          <a:prstGeom prst="rect">
            <a:avLst/>
          </a:prstGeom>
          <a:solidFill>
            <a:srgbClr val="EBDCB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pSp>
        <p:nvGrpSpPr>
          <p:cNvPr id="73" name="Groupe 72">
            <a:extLst>
              <a:ext uri="{FF2B5EF4-FFF2-40B4-BE49-F238E27FC236}">
                <a16:creationId xmlns:a16="http://schemas.microsoft.com/office/drawing/2014/main" id="{50B50096-5FF3-4DA2-ABDB-1D4E7230D04D}"/>
              </a:ext>
            </a:extLst>
          </p:cNvPr>
          <p:cNvGrpSpPr/>
          <p:nvPr userDrawn="1"/>
        </p:nvGrpSpPr>
        <p:grpSpPr>
          <a:xfrm>
            <a:off x="-962025" y="111653"/>
            <a:ext cx="766752" cy="138376"/>
            <a:chOff x="213360" y="1621472"/>
            <a:chExt cx="11823193" cy="2133748"/>
          </a:xfrm>
        </p:grpSpPr>
        <p:cxnSp>
          <p:nvCxnSpPr>
            <p:cNvPr id="74" name="Connecteur droit 73">
              <a:extLst>
                <a:ext uri="{FF2B5EF4-FFF2-40B4-BE49-F238E27FC236}">
                  <a16:creationId xmlns:a16="http://schemas.microsoft.com/office/drawing/2014/main" id="{136354BF-55F2-4B9A-9379-E6CF57E9BB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3360" y="1659233"/>
              <a:ext cx="1963250" cy="2095987"/>
            </a:xfrm>
            <a:prstGeom prst="line">
              <a:avLst/>
            </a:prstGeom>
            <a:noFill/>
            <a:ln w="50800" cap="rnd" cmpd="sng" algn="ctr">
              <a:solidFill>
                <a:srgbClr val="11245E"/>
              </a:solidFill>
              <a:prstDash val="solid"/>
              <a:round/>
            </a:ln>
            <a:effectLst/>
          </p:spPr>
        </p:cxnSp>
        <p:cxnSp>
          <p:nvCxnSpPr>
            <p:cNvPr id="76" name="Connecteur droit 75">
              <a:extLst>
                <a:ext uri="{FF2B5EF4-FFF2-40B4-BE49-F238E27FC236}">
                  <a16:creationId xmlns:a16="http://schemas.microsoft.com/office/drawing/2014/main" id="{A42747AF-6C10-49BE-907F-41444420F77D}"/>
                </a:ext>
              </a:extLst>
            </p:cNvPr>
            <p:cNvCxnSpPr>
              <a:cxnSpLocks/>
            </p:cNvCxnSpPr>
            <p:nvPr/>
          </p:nvCxnSpPr>
          <p:spPr>
            <a:xfrm>
              <a:off x="2176610" y="1659233"/>
              <a:ext cx="1972057" cy="2077107"/>
            </a:xfrm>
            <a:prstGeom prst="line">
              <a:avLst/>
            </a:prstGeom>
            <a:noFill/>
            <a:ln w="50800" cap="rnd" cmpd="sng" algn="ctr">
              <a:solidFill>
                <a:srgbClr val="11245E"/>
              </a:solidFill>
              <a:prstDash val="solid"/>
              <a:round/>
            </a:ln>
            <a:effectLst/>
          </p:spPr>
        </p:cxnSp>
        <p:cxnSp>
          <p:nvCxnSpPr>
            <p:cNvPr id="77" name="Connecteur droit 76">
              <a:extLst>
                <a:ext uri="{FF2B5EF4-FFF2-40B4-BE49-F238E27FC236}">
                  <a16:creationId xmlns:a16="http://schemas.microsoft.com/office/drawing/2014/main" id="{DB7B1DEA-EB73-4B30-B174-73614F2176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48667" y="1638405"/>
              <a:ext cx="1963250" cy="2095987"/>
            </a:xfrm>
            <a:prstGeom prst="line">
              <a:avLst/>
            </a:prstGeom>
            <a:noFill/>
            <a:ln w="50800" cap="rnd" cmpd="sng" algn="ctr">
              <a:solidFill>
                <a:srgbClr val="11245E"/>
              </a:solidFill>
              <a:prstDash val="solid"/>
              <a:round/>
            </a:ln>
            <a:effectLst/>
          </p:spPr>
        </p:cxnSp>
        <p:cxnSp>
          <p:nvCxnSpPr>
            <p:cNvPr id="78" name="Connecteur droit 77">
              <a:extLst>
                <a:ext uri="{FF2B5EF4-FFF2-40B4-BE49-F238E27FC236}">
                  <a16:creationId xmlns:a16="http://schemas.microsoft.com/office/drawing/2014/main" id="{0CA57C37-8CAA-4117-A3D9-ED060960458D}"/>
                </a:ext>
              </a:extLst>
            </p:cNvPr>
            <p:cNvCxnSpPr>
              <a:cxnSpLocks/>
            </p:cNvCxnSpPr>
            <p:nvPr/>
          </p:nvCxnSpPr>
          <p:spPr>
            <a:xfrm>
              <a:off x="6111917" y="1638405"/>
              <a:ext cx="1972057" cy="2077107"/>
            </a:xfrm>
            <a:prstGeom prst="line">
              <a:avLst/>
            </a:prstGeom>
            <a:noFill/>
            <a:ln w="50800" cap="rnd" cmpd="sng" algn="ctr">
              <a:solidFill>
                <a:srgbClr val="11245E"/>
              </a:solidFill>
              <a:prstDash val="solid"/>
              <a:round/>
            </a:ln>
            <a:effectLst/>
          </p:spPr>
        </p:cxnSp>
        <p:cxnSp>
          <p:nvCxnSpPr>
            <p:cNvPr id="79" name="Connecteur droit 78">
              <a:extLst>
                <a:ext uri="{FF2B5EF4-FFF2-40B4-BE49-F238E27FC236}">
                  <a16:creationId xmlns:a16="http://schemas.microsoft.com/office/drawing/2014/main" id="{ADDDA981-ED2A-4950-9809-D3D3BBEA04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01246" y="1621472"/>
              <a:ext cx="1963250" cy="2095987"/>
            </a:xfrm>
            <a:prstGeom prst="line">
              <a:avLst/>
            </a:prstGeom>
            <a:noFill/>
            <a:ln w="50800" cap="rnd" cmpd="sng" algn="ctr">
              <a:solidFill>
                <a:srgbClr val="11245E"/>
              </a:solidFill>
              <a:prstDash val="solid"/>
              <a:round/>
            </a:ln>
            <a:effectLst/>
          </p:spPr>
        </p:cxnSp>
        <p:cxnSp>
          <p:nvCxnSpPr>
            <p:cNvPr id="80" name="Connecteur droit 79">
              <a:extLst>
                <a:ext uri="{FF2B5EF4-FFF2-40B4-BE49-F238E27FC236}">
                  <a16:creationId xmlns:a16="http://schemas.microsoft.com/office/drawing/2014/main" id="{E07DD64E-F22E-41D8-9083-8E95AE473B4A}"/>
                </a:ext>
              </a:extLst>
            </p:cNvPr>
            <p:cNvCxnSpPr>
              <a:cxnSpLocks/>
            </p:cNvCxnSpPr>
            <p:nvPr/>
          </p:nvCxnSpPr>
          <p:spPr>
            <a:xfrm>
              <a:off x="10064496" y="1621472"/>
              <a:ext cx="1972057" cy="2077107"/>
            </a:xfrm>
            <a:prstGeom prst="line">
              <a:avLst/>
            </a:prstGeom>
            <a:noFill/>
            <a:ln w="50800" cap="rnd" cmpd="sng" algn="ctr">
              <a:solidFill>
                <a:srgbClr val="11245E"/>
              </a:solidFill>
              <a:prstDash val="solid"/>
              <a:round/>
            </a:ln>
            <a:effectLst/>
          </p:spPr>
        </p:cxn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89A16430-AAF2-4FE2-97DB-12E0E941E6D3}"/>
              </a:ext>
            </a:extLst>
          </p:cNvPr>
          <p:cNvSpPr/>
          <p:nvPr userDrawn="1"/>
        </p:nvSpPr>
        <p:spPr>
          <a:xfrm>
            <a:off x="-706814" y="3224953"/>
            <a:ext cx="194400" cy="237600"/>
          </a:xfrm>
          <a:prstGeom prst="rect">
            <a:avLst/>
          </a:prstGeom>
          <a:solidFill>
            <a:srgbClr val="ED7D31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A2DA325-E925-46CB-B2BC-69C527E5F5C4}"/>
              </a:ext>
            </a:extLst>
          </p:cNvPr>
          <p:cNvSpPr/>
          <p:nvPr userDrawn="1"/>
        </p:nvSpPr>
        <p:spPr>
          <a:xfrm>
            <a:off x="-706814" y="2027257"/>
            <a:ext cx="194400" cy="237600"/>
          </a:xfrm>
          <a:prstGeom prst="rect">
            <a:avLst/>
          </a:prstGeom>
          <a:solidFill>
            <a:srgbClr val="11245E">
              <a:alpha val="1882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133C6D9-21E9-48B4-BFF5-63CEFBD86B07}"/>
              </a:ext>
            </a:extLst>
          </p:cNvPr>
          <p:cNvSpPr/>
          <p:nvPr userDrawn="1"/>
        </p:nvSpPr>
        <p:spPr>
          <a:xfrm>
            <a:off x="-706814" y="1726936"/>
            <a:ext cx="194400" cy="237600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D2E10AA-35E6-494C-9EC4-94F2EE7540FB}"/>
              </a:ext>
            </a:extLst>
          </p:cNvPr>
          <p:cNvSpPr/>
          <p:nvPr userDrawn="1"/>
        </p:nvSpPr>
        <p:spPr>
          <a:xfrm>
            <a:off x="-707675" y="3827223"/>
            <a:ext cx="195261" cy="237507"/>
          </a:xfrm>
          <a:prstGeom prst="rect">
            <a:avLst/>
          </a:prstGeom>
          <a:solidFill>
            <a:srgbClr val="00A7A3">
              <a:alpha val="1882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0" cap="none" spc="0" normalizeH="0" baseline="0" noProof="0" dirty="0">
              <a:ln>
                <a:noFill/>
              </a:ln>
              <a:solidFill>
                <a:srgbClr val="00484E"/>
              </a:solidFill>
              <a:effectLst/>
              <a:uLnTx/>
              <a:uFillTx/>
            </a:endParaRPr>
          </a:p>
        </p:txBody>
      </p:sp>
      <p:sp>
        <p:nvSpPr>
          <p:cNvPr id="85" name="ZoneTexte 84">
            <a:extLst>
              <a:ext uri="{FF2B5EF4-FFF2-40B4-BE49-F238E27FC236}">
                <a16:creationId xmlns:a16="http://schemas.microsoft.com/office/drawing/2014/main" id="{68A139E7-93D2-4993-990B-F24ACBB8491D}"/>
              </a:ext>
            </a:extLst>
          </p:cNvPr>
          <p:cNvSpPr txBox="1"/>
          <p:nvPr userDrawn="1"/>
        </p:nvSpPr>
        <p:spPr>
          <a:xfrm>
            <a:off x="-1276421" y="2022388"/>
            <a:ext cx="51740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700" dirty="0"/>
              <a:t>#11245E</a:t>
            </a:r>
          </a:p>
        </p:txBody>
      </p:sp>
      <p:sp>
        <p:nvSpPr>
          <p:cNvPr id="86" name="ZoneTexte 85">
            <a:extLst>
              <a:ext uri="{FF2B5EF4-FFF2-40B4-BE49-F238E27FC236}">
                <a16:creationId xmlns:a16="http://schemas.microsoft.com/office/drawing/2014/main" id="{FE9DD7BB-3850-46B2-888A-ED30DA768BAE}"/>
              </a:ext>
            </a:extLst>
          </p:cNvPr>
          <p:cNvSpPr txBox="1"/>
          <p:nvPr userDrawn="1"/>
        </p:nvSpPr>
        <p:spPr>
          <a:xfrm>
            <a:off x="-1276421" y="2321185"/>
            <a:ext cx="51740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700" dirty="0"/>
              <a:t>#11245E</a:t>
            </a:r>
          </a:p>
        </p:txBody>
      </p:sp>
      <p:sp>
        <p:nvSpPr>
          <p:cNvPr id="87" name="ZoneTexte 86">
            <a:extLst>
              <a:ext uri="{FF2B5EF4-FFF2-40B4-BE49-F238E27FC236}">
                <a16:creationId xmlns:a16="http://schemas.microsoft.com/office/drawing/2014/main" id="{33A98345-384F-4385-B7CA-11FA1F7623FB}"/>
              </a:ext>
            </a:extLst>
          </p:cNvPr>
          <p:cNvSpPr txBox="1"/>
          <p:nvPr userDrawn="1"/>
        </p:nvSpPr>
        <p:spPr>
          <a:xfrm>
            <a:off x="-1276421" y="2619982"/>
            <a:ext cx="51740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700" dirty="0"/>
              <a:t>#0095D9</a:t>
            </a:r>
          </a:p>
        </p:txBody>
      </p:sp>
      <p:sp>
        <p:nvSpPr>
          <p:cNvPr id="88" name="ZoneTexte 87">
            <a:extLst>
              <a:ext uri="{FF2B5EF4-FFF2-40B4-BE49-F238E27FC236}">
                <a16:creationId xmlns:a16="http://schemas.microsoft.com/office/drawing/2014/main" id="{A35598AC-AE69-4275-80F0-C3F72E1AACC1}"/>
              </a:ext>
            </a:extLst>
          </p:cNvPr>
          <p:cNvSpPr txBox="1"/>
          <p:nvPr userDrawn="1"/>
        </p:nvSpPr>
        <p:spPr>
          <a:xfrm>
            <a:off x="-1276421" y="2918779"/>
            <a:ext cx="51740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700" dirty="0"/>
              <a:t>#FFAE0E</a:t>
            </a:r>
          </a:p>
        </p:txBody>
      </p:sp>
      <p:sp>
        <p:nvSpPr>
          <p:cNvPr id="89" name="ZoneTexte 88">
            <a:extLst>
              <a:ext uri="{FF2B5EF4-FFF2-40B4-BE49-F238E27FC236}">
                <a16:creationId xmlns:a16="http://schemas.microsoft.com/office/drawing/2014/main" id="{EB270CE7-FA8B-47F7-8DF7-34798317A0A5}"/>
              </a:ext>
            </a:extLst>
          </p:cNvPr>
          <p:cNvSpPr txBox="1"/>
          <p:nvPr userDrawn="1"/>
        </p:nvSpPr>
        <p:spPr>
          <a:xfrm>
            <a:off x="-1276421" y="3217576"/>
            <a:ext cx="51740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700" dirty="0"/>
              <a:t>#F25507</a:t>
            </a:r>
          </a:p>
        </p:txBody>
      </p:sp>
      <p:sp>
        <p:nvSpPr>
          <p:cNvPr id="90" name="ZoneTexte 89">
            <a:extLst>
              <a:ext uri="{FF2B5EF4-FFF2-40B4-BE49-F238E27FC236}">
                <a16:creationId xmlns:a16="http://schemas.microsoft.com/office/drawing/2014/main" id="{2D16319C-57B9-4DA7-B618-941B1F41431B}"/>
              </a:ext>
            </a:extLst>
          </p:cNvPr>
          <p:cNvSpPr txBox="1"/>
          <p:nvPr userDrawn="1"/>
        </p:nvSpPr>
        <p:spPr>
          <a:xfrm>
            <a:off x="-1276421" y="3516373"/>
            <a:ext cx="51740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700" dirty="0"/>
              <a:t>#00484E</a:t>
            </a:r>
          </a:p>
        </p:txBody>
      </p:sp>
      <p:sp>
        <p:nvSpPr>
          <p:cNvPr id="91" name="ZoneTexte 90">
            <a:extLst>
              <a:ext uri="{FF2B5EF4-FFF2-40B4-BE49-F238E27FC236}">
                <a16:creationId xmlns:a16="http://schemas.microsoft.com/office/drawing/2014/main" id="{884AF12D-BAB0-4D7D-8EDA-1676FEE345B0}"/>
              </a:ext>
            </a:extLst>
          </p:cNvPr>
          <p:cNvSpPr txBox="1"/>
          <p:nvPr userDrawn="1"/>
        </p:nvSpPr>
        <p:spPr>
          <a:xfrm>
            <a:off x="-1276421" y="3815171"/>
            <a:ext cx="51740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700" dirty="0"/>
              <a:t>#00A7A3</a:t>
            </a:r>
          </a:p>
        </p:txBody>
      </p:sp>
      <p:sp>
        <p:nvSpPr>
          <p:cNvPr id="92" name="ZoneTexte 91">
            <a:extLst>
              <a:ext uri="{FF2B5EF4-FFF2-40B4-BE49-F238E27FC236}">
                <a16:creationId xmlns:a16="http://schemas.microsoft.com/office/drawing/2014/main" id="{D1AC8B15-E01A-4000-BCCB-F66E325649A1}"/>
              </a:ext>
            </a:extLst>
          </p:cNvPr>
          <p:cNvSpPr txBox="1"/>
          <p:nvPr userDrawn="1"/>
        </p:nvSpPr>
        <p:spPr>
          <a:xfrm>
            <a:off x="-1379614" y="1701222"/>
            <a:ext cx="70604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600" dirty="0"/>
              <a:t>Code hexa de la couleur de fond</a:t>
            </a: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1D97A84B-2F32-4790-95C8-3975E0D25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296863"/>
            <a:ext cx="10080000" cy="576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8F171172-CFF0-4049-A351-9EAA8E3D13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1825625"/>
            <a:ext cx="11340000" cy="468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1758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11245E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fr-FR" sz="12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49263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684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918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F26B43"/>
          </p15:clr>
        </p15:guide>
        <p15:guide id="2" pos="2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8.sv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7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15" Type="http://schemas.openxmlformats.org/officeDocument/2006/relationships/image" Target="../media/image28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svg"/><Relationship Id="rId3" Type="http://schemas.openxmlformats.org/officeDocument/2006/relationships/image" Target="../media/image30.svg"/><Relationship Id="rId7" Type="http://schemas.openxmlformats.org/officeDocument/2006/relationships/image" Target="../media/image34.svg"/><Relationship Id="rId12" Type="http://schemas.openxmlformats.org/officeDocument/2006/relationships/image" Target="../media/image3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3.png"/><Relationship Id="rId11" Type="http://schemas.openxmlformats.org/officeDocument/2006/relationships/image" Target="../media/image38.svg"/><Relationship Id="rId5" Type="http://schemas.openxmlformats.org/officeDocument/2006/relationships/image" Target="../media/image32.sv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684B7BD-3E68-269E-22D3-FD4C191019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803663"/>
            <a:ext cx="6673443" cy="1649905"/>
          </a:xfrm>
        </p:spPr>
        <p:txBody>
          <a:bodyPr/>
          <a:lstStyle/>
          <a:p>
            <a:r>
              <a:rPr lang="fr-FR" sz="3200" b="1" dirty="0"/>
              <a:t>Dédiaboliser les PIA :</a:t>
            </a:r>
          </a:p>
          <a:p>
            <a:r>
              <a:rPr lang="fr-FR" sz="3200" b="1" dirty="0"/>
              <a:t>« De l’obligation à la pratique »</a:t>
            </a:r>
          </a:p>
        </p:txBody>
      </p:sp>
      <p:sp>
        <p:nvSpPr>
          <p:cNvPr id="13" name="Espace réservé du pied de page 6">
            <a:extLst>
              <a:ext uri="{FF2B5EF4-FFF2-40B4-BE49-F238E27FC236}">
                <a16:creationId xmlns:a16="http://schemas.microsoft.com/office/drawing/2014/main" id="{B3A80F78-8D06-84DE-E1B6-B364D60EB899}"/>
              </a:ext>
            </a:extLst>
          </p:cNvPr>
          <p:cNvSpPr txBox="1">
            <a:spLocks/>
          </p:cNvSpPr>
          <p:nvPr/>
        </p:nvSpPr>
        <p:spPr>
          <a:xfrm>
            <a:off x="606973" y="525784"/>
            <a:ext cx="5037084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/>
              <a:t>Mardi 17 septembre 2024 - DPO Forum de Lyon</a:t>
            </a: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463267D3-8877-ADC5-3375-1BD78616CAA9}"/>
              </a:ext>
            </a:extLst>
          </p:cNvPr>
          <p:cNvGrpSpPr/>
          <p:nvPr/>
        </p:nvGrpSpPr>
        <p:grpSpPr>
          <a:xfrm>
            <a:off x="838200" y="5675601"/>
            <a:ext cx="5814463" cy="520145"/>
            <a:chOff x="864864" y="974028"/>
            <a:chExt cx="4516433" cy="404027"/>
          </a:xfrm>
        </p:grpSpPr>
        <p:pic>
          <p:nvPicPr>
            <p:cNvPr id="22" name="Graphique 21">
              <a:extLst>
                <a:ext uri="{FF2B5EF4-FFF2-40B4-BE49-F238E27FC236}">
                  <a16:creationId xmlns:a16="http://schemas.microsoft.com/office/drawing/2014/main" id="{AF423070-31BF-371B-B60B-DF226A845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042193" y="974028"/>
              <a:ext cx="2339104" cy="404027"/>
            </a:xfrm>
            <a:prstGeom prst="rect">
              <a:avLst/>
            </a:prstGeom>
          </p:spPr>
        </p:pic>
        <p:pic>
          <p:nvPicPr>
            <p:cNvPr id="23" name="Image 22">
              <a:extLst>
                <a:ext uri="{FF2B5EF4-FFF2-40B4-BE49-F238E27FC236}">
                  <a16:creationId xmlns:a16="http://schemas.microsoft.com/office/drawing/2014/main" id="{D7558144-8CD1-6BAA-A71A-F7D0D7B4D2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4864" y="991026"/>
              <a:ext cx="1763610" cy="370031"/>
            </a:xfrm>
            <a:prstGeom prst="rect">
              <a:avLst/>
            </a:prstGeom>
          </p:spPr>
        </p:pic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1692083D-335B-0D6D-6CCD-A2F5A9DD759D}"/>
                </a:ext>
              </a:extLst>
            </p:cNvPr>
            <p:cNvSpPr txBox="1"/>
            <p:nvPr/>
          </p:nvSpPr>
          <p:spPr>
            <a:xfrm>
              <a:off x="2668460" y="991375"/>
              <a:ext cx="33374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dirty="0"/>
                <a:t>X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96816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 descr="Une image contenant personne, lune, main, jaune&#10;&#10;Description générée automatiquement">
            <a:extLst>
              <a:ext uri="{FF2B5EF4-FFF2-40B4-BE49-F238E27FC236}">
                <a16:creationId xmlns:a16="http://schemas.microsoft.com/office/drawing/2014/main" id="{C05E5FC6-F481-9CC5-5F6C-DAEBD1E9CB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132" y="-635726"/>
            <a:ext cx="12192000" cy="8129452"/>
          </a:xfrm>
          <a:prstGeom prst="rect">
            <a:avLst/>
          </a:prstGeom>
        </p:spPr>
      </p:pic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6D7321B-7798-3288-43D1-98BB167242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7/09/2024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5B920D6-358D-3F9B-DBFE-BCF806776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otre conformité RGPD mérite un logiciel performant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41" name="Espace réservé du numéro de diapositive 3">
            <a:extLst>
              <a:ext uri="{FF2B5EF4-FFF2-40B4-BE49-F238E27FC236}">
                <a16:creationId xmlns:a16="http://schemas.microsoft.com/office/drawing/2014/main" id="{16A8210A-113D-E34E-E2BE-BA83FFCA5252}"/>
              </a:ext>
            </a:extLst>
          </p:cNvPr>
          <p:cNvSpPr txBox="1">
            <a:spLocks/>
          </p:cNvSpPr>
          <p:nvPr/>
        </p:nvSpPr>
        <p:spPr>
          <a:xfrm>
            <a:off x="10840720" y="6356350"/>
            <a:ext cx="51307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B60F051A-2C40-4DB4-9DB8-47983C4B574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42" name="Graphique 41">
            <a:extLst>
              <a:ext uri="{FF2B5EF4-FFF2-40B4-BE49-F238E27FC236}">
                <a16:creationId xmlns:a16="http://schemas.microsoft.com/office/drawing/2014/main" id="{D3D62FB9-D468-A4F0-15FC-3283BBE495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ACB66C33-FBBC-A5C5-2D30-17E700ED1A2B}"/>
              </a:ext>
            </a:extLst>
          </p:cNvPr>
          <p:cNvCxnSpPr/>
          <p:nvPr/>
        </p:nvCxnSpPr>
        <p:spPr>
          <a:xfrm>
            <a:off x="11366720" y="6356350"/>
            <a:ext cx="0" cy="501650"/>
          </a:xfrm>
          <a:prstGeom prst="line">
            <a:avLst/>
          </a:prstGeom>
          <a:noFill/>
          <a:ln w="635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sp>
        <p:nvSpPr>
          <p:cNvPr id="10" name="TextBox 73">
            <a:extLst>
              <a:ext uri="{FF2B5EF4-FFF2-40B4-BE49-F238E27FC236}">
                <a16:creationId xmlns:a16="http://schemas.microsoft.com/office/drawing/2014/main" id="{6D9EDDB4-0FD3-CDEF-2C6B-9EE77C516803}"/>
              </a:ext>
            </a:extLst>
          </p:cNvPr>
          <p:cNvSpPr txBox="1"/>
          <p:nvPr/>
        </p:nvSpPr>
        <p:spPr>
          <a:xfrm>
            <a:off x="851120" y="1727755"/>
            <a:ext cx="428440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2000" kern="0" dirty="0"/>
              <a:t>Ça peut être simple &amp;</a:t>
            </a:r>
          </a:p>
          <a:p>
            <a:pPr>
              <a:defRPr/>
            </a:pPr>
            <a:r>
              <a:rPr lang="fr-FR" sz="2000" kern="0" dirty="0"/>
              <a:t>c’est un peu tout le temps !</a:t>
            </a:r>
          </a:p>
          <a:p>
            <a:pPr>
              <a:defRPr/>
            </a:pPr>
            <a:endParaRPr lang="fr-FR" sz="2000" kern="0" dirty="0"/>
          </a:p>
          <a:p>
            <a:pPr>
              <a:defRPr/>
            </a:pPr>
            <a:r>
              <a:rPr lang="fr-FR" sz="2000" kern="0" dirty="0"/>
              <a:t>Il faut être un peu carré</a:t>
            </a:r>
          </a:p>
          <a:p>
            <a:pPr>
              <a:defRPr/>
            </a:pPr>
            <a:r>
              <a:rPr lang="fr-FR" sz="2000" kern="0" dirty="0"/>
              <a:t>pour que ça tourne rond !</a:t>
            </a:r>
          </a:p>
          <a:p>
            <a:pPr>
              <a:defRPr/>
            </a:pPr>
            <a:endParaRPr lang="fr-FR" sz="2000" kern="0" dirty="0"/>
          </a:p>
          <a:p>
            <a:pPr>
              <a:defRPr/>
            </a:pPr>
            <a:r>
              <a:rPr lang="fr-FR" sz="2000" kern="0" dirty="0"/>
              <a:t>Et ça rime avec IA ! </a:t>
            </a:r>
          </a:p>
        </p:txBody>
      </p:sp>
      <p:sp>
        <p:nvSpPr>
          <p:cNvPr id="4" name="Titre 7">
            <a:extLst>
              <a:ext uri="{FF2B5EF4-FFF2-40B4-BE49-F238E27FC236}">
                <a16:creationId xmlns:a16="http://schemas.microsoft.com/office/drawing/2014/main" id="{48D2C4EC-611E-5F58-E608-04489D69700C}"/>
              </a:ext>
            </a:extLst>
          </p:cNvPr>
          <p:cNvSpPr txBox="1">
            <a:spLocks/>
          </p:cNvSpPr>
          <p:nvPr/>
        </p:nvSpPr>
        <p:spPr>
          <a:xfrm>
            <a:off x="9815045" y="5130474"/>
            <a:ext cx="4288115" cy="6254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4400" dirty="0">
                <a:latin typeface="Avenir Next LT Pro"/>
              </a:rPr>
              <a:t>Merci</a:t>
            </a:r>
            <a:endParaRPr kumimoji="0" lang="fr-FR" sz="4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venir Next LT Pro"/>
              <a:ea typeface="+mj-ea"/>
              <a:cs typeface="+mj-cs"/>
            </a:endParaRPr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9AEAE86C-AAA8-07C5-942D-85964D12D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817888" cy="62547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>
                <a:latin typeface="Avenir Next LT Pro"/>
              </a:rPr>
              <a:t>Finalement, les PIA … </a:t>
            </a:r>
            <a:endParaRPr kumimoji="0" lang="fr-FR" sz="6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venir Next LT Pro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58865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7029ABD-BF96-5877-41DD-46895F2A0E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2868" y="6338005"/>
            <a:ext cx="1121229" cy="365125"/>
          </a:xfrm>
        </p:spPr>
        <p:txBody>
          <a:bodyPr/>
          <a:lstStyle/>
          <a:p>
            <a:r>
              <a:rPr lang="fr-FR" dirty="0"/>
              <a:t>17/09/2024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08674ED4-217E-E77A-04C7-C33B5D4AB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38004"/>
            <a:ext cx="5037084" cy="365125"/>
          </a:xfrm>
        </p:spPr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C319B0FD-E9E4-3BEE-D638-F55B51EA7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0720" y="6356350"/>
            <a:ext cx="513079" cy="365125"/>
          </a:xfrm>
        </p:spPr>
        <p:txBody>
          <a:bodyPr/>
          <a:lstStyle/>
          <a:p>
            <a:fld id="{B60F051A-2C40-4DB4-9DB8-47983C4B5745}" type="slidenum">
              <a:rPr lang="fr-FR" smtClean="0"/>
              <a:pPr/>
              <a:t>11</a:t>
            </a:fld>
            <a:endParaRPr lang="fr-FR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5B1ECD28-81F9-55B6-E56E-9582580BBF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40007" y="2009755"/>
            <a:ext cx="4009191" cy="69249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BD6D6F4-DBCC-ABD1-DF5D-14DF11CDFE13}"/>
              </a:ext>
            </a:extLst>
          </p:cNvPr>
          <p:cNvSpPr txBox="1"/>
          <p:nvPr/>
        </p:nvSpPr>
        <p:spPr>
          <a:xfrm>
            <a:off x="6070775" y="2134928"/>
            <a:ext cx="417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800" dirty="0"/>
              <a:t>X</a:t>
            </a:r>
          </a:p>
        </p:txBody>
      </p:sp>
      <p:sp>
        <p:nvSpPr>
          <p:cNvPr id="17" name="TextBox 7">
            <a:extLst>
              <a:ext uri="{FF2B5EF4-FFF2-40B4-BE49-F238E27FC236}">
                <a16:creationId xmlns:a16="http://schemas.microsoft.com/office/drawing/2014/main" id="{7B159DE9-4CCD-22E2-867B-2C3677529FA4}"/>
              </a:ext>
            </a:extLst>
          </p:cNvPr>
          <p:cNvSpPr txBox="1"/>
          <p:nvPr/>
        </p:nvSpPr>
        <p:spPr>
          <a:xfrm>
            <a:off x="2907044" y="3701778"/>
            <a:ext cx="2423953" cy="90794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fr-FR"/>
            </a:defPPr>
            <a:lvl1pPr>
              <a:lnSpc>
                <a:spcPct val="100000"/>
              </a:lnSpc>
              <a:spcBef>
                <a:spcPts val="600"/>
              </a:spcBef>
              <a:defRPr sz="2000">
                <a:solidFill>
                  <a:srgbClr val="FFFFFF"/>
                </a:solidFill>
                <a:latin typeface="Avenir Next LT Pro" panose="020B0504020202020204" pitchFamily="34" charset="0"/>
              </a:defRPr>
            </a:lvl1pPr>
          </a:lstStyle>
          <a:p>
            <a:pPr lvl="0"/>
            <a:r>
              <a:rPr lang="en-US" sz="1800" dirty="0" err="1"/>
              <a:t>Adresse</a:t>
            </a:r>
            <a:r>
              <a:rPr lang="en-US" sz="1800" dirty="0"/>
              <a:t> : 93, Rue de la Part Dieu 69003 Lyon</a:t>
            </a:r>
          </a:p>
          <a:p>
            <a:pPr lvl="0"/>
            <a:endParaRPr lang="en-US" sz="1800" dirty="0"/>
          </a:p>
        </p:txBody>
      </p:sp>
      <p:sp>
        <p:nvSpPr>
          <p:cNvPr id="18" name="TextBox 10">
            <a:extLst>
              <a:ext uri="{FF2B5EF4-FFF2-40B4-BE49-F238E27FC236}">
                <a16:creationId xmlns:a16="http://schemas.microsoft.com/office/drawing/2014/main" id="{7F27A1CE-682E-7621-A1D2-A2EC4E091CC6}"/>
              </a:ext>
            </a:extLst>
          </p:cNvPr>
          <p:cNvSpPr txBox="1"/>
          <p:nvPr/>
        </p:nvSpPr>
        <p:spPr>
          <a:xfrm>
            <a:off x="6198294" y="3742113"/>
            <a:ext cx="4038797" cy="630942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>
            <a:defPPr>
              <a:defRPr lang="fr-FR"/>
            </a:defPPr>
            <a:lvl1pPr lvl="0">
              <a:lnSpc>
                <a:spcPct val="100000"/>
              </a:lnSpc>
              <a:spcBef>
                <a:spcPts val="600"/>
              </a:spcBef>
              <a:defRPr sz="2000">
                <a:solidFill>
                  <a:srgbClr val="FFFFFF"/>
                </a:solidFill>
                <a:latin typeface="Avenir Next LT Pro" panose="020B0504020202020204" pitchFamily="34" charset="0"/>
              </a:defRPr>
            </a:lvl1pPr>
          </a:lstStyle>
          <a:p>
            <a:pPr lvl="0"/>
            <a:r>
              <a:rPr lang="en-US" sz="1800" dirty="0" err="1"/>
              <a:t>Tél</a:t>
            </a:r>
            <a:r>
              <a:rPr lang="en-US" sz="1800" dirty="0"/>
              <a:t> : +33 (0) 7 44 96 20 16</a:t>
            </a:r>
          </a:p>
          <a:p>
            <a:pPr lvl="0"/>
            <a:r>
              <a:rPr lang="en-US" sz="1800" dirty="0"/>
              <a:t>Mail : </a:t>
            </a:r>
            <a:r>
              <a:rPr lang="en-US" sz="1800" dirty="0" err="1"/>
              <a:t>direction@phenix-privacy.com</a:t>
            </a:r>
            <a:endParaRPr lang="en-US" sz="18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1115A8D-A879-3457-238E-FD3AF1CC6DE0}"/>
              </a:ext>
            </a:extLst>
          </p:cNvPr>
          <p:cNvSpPr/>
          <p:nvPr/>
        </p:nvSpPr>
        <p:spPr>
          <a:xfrm rot="16200000">
            <a:off x="2153226" y="4178929"/>
            <a:ext cx="1094551" cy="939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latin typeface="Avenir Next LT Pro" panose="020B05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05B51C9-5C00-0CB0-9751-DBDC3369769E}"/>
              </a:ext>
            </a:extLst>
          </p:cNvPr>
          <p:cNvSpPr/>
          <p:nvPr/>
        </p:nvSpPr>
        <p:spPr>
          <a:xfrm rot="16200000">
            <a:off x="5444478" y="4178928"/>
            <a:ext cx="1094551" cy="939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latin typeface="Avenir Next LT Pro" panose="020B0504020202020204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B89069B5-6472-D93A-10CC-CCB63FF14BF1}"/>
              </a:ext>
            </a:extLst>
          </p:cNvPr>
          <p:cNvSpPr txBox="1"/>
          <p:nvPr/>
        </p:nvSpPr>
        <p:spPr>
          <a:xfrm>
            <a:off x="6096000" y="440383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/>
              <a:t>www.phenix-privacy.com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A8D3441B-4638-A6AF-3FD2-0B564204409C}"/>
              </a:ext>
            </a:extLst>
          </p:cNvPr>
          <p:cNvGrpSpPr/>
          <p:nvPr/>
        </p:nvGrpSpPr>
        <p:grpSpPr>
          <a:xfrm>
            <a:off x="7069329" y="2159028"/>
            <a:ext cx="2873976" cy="523219"/>
            <a:chOff x="888105" y="743588"/>
            <a:chExt cx="2660047" cy="496633"/>
          </a:xfrm>
        </p:grpSpPr>
        <p:grpSp>
          <p:nvGrpSpPr>
            <p:cNvPr id="11" name="Graphique 7">
              <a:extLst>
                <a:ext uri="{FF2B5EF4-FFF2-40B4-BE49-F238E27FC236}">
                  <a16:creationId xmlns:a16="http://schemas.microsoft.com/office/drawing/2014/main" id="{938AC640-63A2-DB6C-6B81-979C92719278}"/>
                </a:ext>
              </a:extLst>
            </p:cNvPr>
            <p:cNvGrpSpPr/>
            <p:nvPr userDrawn="1"/>
          </p:nvGrpSpPr>
          <p:grpSpPr>
            <a:xfrm>
              <a:off x="1429221" y="850078"/>
              <a:ext cx="2118931" cy="254317"/>
              <a:chOff x="1429221" y="850078"/>
              <a:chExt cx="2118931" cy="254317"/>
            </a:xfrm>
            <a:solidFill>
              <a:schemeClr val="tx1"/>
            </a:solidFill>
          </p:grpSpPr>
          <p:sp>
            <p:nvSpPr>
              <p:cNvPr id="19" name="Forme libre : forme 18">
                <a:extLst>
                  <a:ext uri="{FF2B5EF4-FFF2-40B4-BE49-F238E27FC236}">
                    <a16:creationId xmlns:a16="http://schemas.microsoft.com/office/drawing/2014/main" id="{48167394-E5A3-5953-363F-196FA8E50585}"/>
                  </a:ext>
                </a:extLst>
              </p:cNvPr>
              <p:cNvSpPr/>
              <p:nvPr/>
            </p:nvSpPr>
            <p:spPr>
              <a:xfrm>
                <a:off x="1729163" y="853602"/>
                <a:ext cx="214026" cy="244697"/>
              </a:xfrm>
              <a:custGeom>
                <a:avLst/>
                <a:gdLst>
                  <a:gd name="connsiteX0" fmla="*/ 0 w 214026"/>
                  <a:gd name="connsiteY0" fmla="*/ 244697 h 244697"/>
                  <a:gd name="connsiteX1" fmla="*/ 0 w 214026"/>
                  <a:gd name="connsiteY1" fmla="*/ 0 h 244697"/>
                  <a:gd name="connsiteX2" fmla="*/ 71723 w 214026"/>
                  <a:gd name="connsiteY2" fmla="*/ 0 h 244697"/>
                  <a:gd name="connsiteX3" fmla="*/ 178022 w 214026"/>
                  <a:gd name="connsiteY3" fmla="*/ 30671 h 244697"/>
                  <a:gd name="connsiteX4" fmla="*/ 214027 w 214026"/>
                  <a:gd name="connsiteY4" fmla="*/ 121349 h 244697"/>
                  <a:gd name="connsiteX5" fmla="*/ 198025 w 214026"/>
                  <a:gd name="connsiteY5" fmla="*/ 186309 h 244697"/>
                  <a:gd name="connsiteX6" fmla="*/ 152876 w 214026"/>
                  <a:gd name="connsiteY6" fmla="*/ 229362 h 244697"/>
                  <a:gd name="connsiteX7" fmla="*/ 84296 w 214026"/>
                  <a:gd name="connsiteY7" fmla="*/ 244697 h 244697"/>
                  <a:gd name="connsiteX8" fmla="*/ 95 w 214026"/>
                  <a:gd name="connsiteY8" fmla="*/ 244697 h 244697"/>
                  <a:gd name="connsiteX9" fmla="*/ 44196 w 214026"/>
                  <a:gd name="connsiteY9" fmla="*/ 205073 h 244697"/>
                  <a:gd name="connsiteX10" fmla="*/ 82582 w 214026"/>
                  <a:gd name="connsiteY10" fmla="*/ 205073 h 244697"/>
                  <a:gd name="connsiteX11" fmla="*/ 147161 w 214026"/>
                  <a:gd name="connsiteY11" fmla="*/ 184214 h 244697"/>
                  <a:gd name="connsiteX12" fmla="*/ 169259 w 214026"/>
                  <a:gd name="connsiteY12" fmla="*/ 123063 h 244697"/>
                  <a:gd name="connsiteX13" fmla="*/ 146685 w 214026"/>
                  <a:gd name="connsiteY13" fmla="*/ 60293 h 244697"/>
                  <a:gd name="connsiteX14" fmla="*/ 77533 w 214026"/>
                  <a:gd name="connsiteY14" fmla="*/ 39624 h 244697"/>
                  <a:gd name="connsiteX15" fmla="*/ 44196 w 214026"/>
                  <a:gd name="connsiteY15" fmla="*/ 39624 h 244697"/>
                  <a:gd name="connsiteX16" fmla="*/ 44196 w 214026"/>
                  <a:gd name="connsiteY16" fmla="*/ 205073 h 24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4026" h="244697">
                    <a:moveTo>
                      <a:pt x="0" y="244697"/>
                    </a:moveTo>
                    <a:lnTo>
                      <a:pt x="0" y="0"/>
                    </a:lnTo>
                    <a:lnTo>
                      <a:pt x="71723" y="0"/>
                    </a:lnTo>
                    <a:cubicBezTo>
                      <a:pt x="118586" y="0"/>
                      <a:pt x="154019" y="10192"/>
                      <a:pt x="178022" y="30671"/>
                    </a:cubicBezTo>
                    <a:cubicBezTo>
                      <a:pt x="202025" y="51149"/>
                      <a:pt x="214027" y="81344"/>
                      <a:pt x="214027" y="121349"/>
                    </a:cubicBezTo>
                    <a:cubicBezTo>
                      <a:pt x="214027" y="146209"/>
                      <a:pt x="208693" y="167831"/>
                      <a:pt x="198025" y="186309"/>
                    </a:cubicBezTo>
                    <a:cubicBezTo>
                      <a:pt x="187357" y="204788"/>
                      <a:pt x="172307" y="219170"/>
                      <a:pt x="152876" y="229362"/>
                    </a:cubicBezTo>
                    <a:cubicBezTo>
                      <a:pt x="133350" y="239554"/>
                      <a:pt x="110490" y="244697"/>
                      <a:pt x="84296" y="244697"/>
                    </a:cubicBezTo>
                    <a:lnTo>
                      <a:pt x="95" y="244697"/>
                    </a:lnTo>
                    <a:close/>
                    <a:moveTo>
                      <a:pt x="44196" y="205073"/>
                    </a:moveTo>
                    <a:lnTo>
                      <a:pt x="82582" y="205073"/>
                    </a:lnTo>
                    <a:cubicBezTo>
                      <a:pt x="110871" y="205073"/>
                      <a:pt x="132398" y="198120"/>
                      <a:pt x="147161" y="184214"/>
                    </a:cubicBezTo>
                    <a:cubicBezTo>
                      <a:pt x="161925" y="170307"/>
                      <a:pt x="169259" y="149924"/>
                      <a:pt x="169259" y="123063"/>
                    </a:cubicBezTo>
                    <a:cubicBezTo>
                      <a:pt x="169259" y="96202"/>
                      <a:pt x="161735" y="74105"/>
                      <a:pt x="146685" y="60293"/>
                    </a:cubicBezTo>
                    <a:cubicBezTo>
                      <a:pt x="131636" y="46482"/>
                      <a:pt x="108585" y="39624"/>
                      <a:pt x="77533" y="39624"/>
                    </a:cubicBezTo>
                    <a:lnTo>
                      <a:pt x="44196" y="39624"/>
                    </a:lnTo>
                    <a:lnTo>
                      <a:pt x="44196" y="205073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A51DA4AF-239D-55EB-D438-D1D9009923B5}"/>
                  </a:ext>
                </a:extLst>
              </p:cNvPr>
              <p:cNvSpPr/>
              <p:nvPr/>
            </p:nvSpPr>
            <p:spPr>
              <a:xfrm>
                <a:off x="2021295" y="853602"/>
                <a:ext cx="159258" cy="244697"/>
              </a:xfrm>
              <a:custGeom>
                <a:avLst/>
                <a:gdLst>
                  <a:gd name="connsiteX0" fmla="*/ 155162 w 159258"/>
                  <a:gd name="connsiteY0" fmla="*/ 38576 h 244697"/>
                  <a:gd name="connsiteX1" fmla="*/ 43148 w 159258"/>
                  <a:gd name="connsiteY1" fmla="*/ 38576 h 244697"/>
                  <a:gd name="connsiteX2" fmla="*/ 43148 w 159258"/>
                  <a:gd name="connsiteY2" fmla="*/ 101632 h 244697"/>
                  <a:gd name="connsiteX3" fmla="*/ 149733 w 159258"/>
                  <a:gd name="connsiteY3" fmla="*/ 101632 h 244697"/>
                  <a:gd name="connsiteX4" fmla="*/ 149733 w 159258"/>
                  <a:gd name="connsiteY4" fmla="*/ 140303 h 244697"/>
                  <a:gd name="connsiteX5" fmla="*/ 43148 w 159258"/>
                  <a:gd name="connsiteY5" fmla="*/ 140303 h 244697"/>
                  <a:gd name="connsiteX6" fmla="*/ 43148 w 159258"/>
                  <a:gd name="connsiteY6" fmla="*/ 206121 h 244697"/>
                  <a:gd name="connsiteX7" fmla="*/ 159258 w 159258"/>
                  <a:gd name="connsiteY7" fmla="*/ 206121 h 244697"/>
                  <a:gd name="connsiteX8" fmla="*/ 156210 w 159258"/>
                  <a:gd name="connsiteY8" fmla="*/ 244697 h 244697"/>
                  <a:gd name="connsiteX9" fmla="*/ 0 w 159258"/>
                  <a:gd name="connsiteY9" fmla="*/ 244697 h 244697"/>
                  <a:gd name="connsiteX10" fmla="*/ 0 w 159258"/>
                  <a:gd name="connsiteY10" fmla="*/ 0 h 244697"/>
                  <a:gd name="connsiteX11" fmla="*/ 155162 w 159258"/>
                  <a:gd name="connsiteY11" fmla="*/ 0 h 244697"/>
                  <a:gd name="connsiteX12" fmla="*/ 155162 w 159258"/>
                  <a:gd name="connsiteY12" fmla="*/ 38576 h 24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9258" h="244697">
                    <a:moveTo>
                      <a:pt x="155162" y="38576"/>
                    </a:moveTo>
                    <a:lnTo>
                      <a:pt x="43148" y="38576"/>
                    </a:lnTo>
                    <a:lnTo>
                      <a:pt x="43148" y="101632"/>
                    </a:lnTo>
                    <a:lnTo>
                      <a:pt x="149733" y="101632"/>
                    </a:lnTo>
                    <a:lnTo>
                      <a:pt x="149733" y="140303"/>
                    </a:lnTo>
                    <a:lnTo>
                      <a:pt x="43148" y="140303"/>
                    </a:lnTo>
                    <a:lnTo>
                      <a:pt x="43148" y="206121"/>
                    </a:lnTo>
                    <a:lnTo>
                      <a:pt x="159258" y="206121"/>
                    </a:lnTo>
                    <a:lnTo>
                      <a:pt x="156210" y="244697"/>
                    </a:lnTo>
                    <a:lnTo>
                      <a:pt x="0" y="244697"/>
                    </a:lnTo>
                    <a:lnTo>
                      <a:pt x="0" y="0"/>
                    </a:lnTo>
                    <a:lnTo>
                      <a:pt x="155162" y="0"/>
                    </a:lnTo>
                    <a:lnTo>
                      <a:pt x="155162" y="38576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3C81DA0B-2F08-56F0-C0A6-D4E45201A6BC}"/>
                  </a:ext>
                </a:extLst>
              </p:cNvPr>
              <p:cNvSpPr/>
              <p:nvPr/>
            </p:nvSpPr>
            <p:spPr>
              <a:xfrm>
                <a:off x="2548885" y="853602"/>
                <a:ext cx="205460" cy="247840"/>
              </a:xfrm>
              <a:custGeom>
                <a:avLst/>
                <a:gdLst>
                  <a:gd name="connsiteX0" fmla="*/ 161258 w 205460"/>
                  <a:gd name="connsiteY0" fmla="*/ 0 h 247840"/>
                  <a:gd name="connsiteX1" fmla="*/ 205073 w 205460"/>
                  <a:gd name="connsiteY1" fmla="*/ 0 h 247840"/>
                  <a:gd name="connsiteX2" fmla="*/ 205454 w 205460"/>
                  <a:gd name="connsiteY2" fmla="*/ 130302 h 247840"/>
                  <a:gd name="connsiteX3" fmla="*/ 193738 w 205460"/>
                  <a:gd name="connsiteY3" fmla="*/ 193262 h 247840"/>
                  <a:gd name="connsiteX4" fmla="*/ 158782 w 205460"/>
                  <a:gd name="connsiteY4" fmla="*/ 233744 h 247840"/>
                  <a:gd name="connsiteX5" fmla="*/ 103632 w 205460"/>
                  <a:gd name="connsiteY5" fmla="*/ 247841 h 247840"/>
                  <a:gd name="connsiteX6" fmla="*/ 26003 w 205460"/>
                  <a:gd name="connsiteY6" fmla="*/ 221456 h 247840"/>
                  <a:gd name="connsiteX7" fmla="*/ 0 w 205460"/>
                  <a:gd name="connsiteY7" fmla="*/ 140970 h 247840"/>
                  <a:gd name="connsiteX8" fmla="*/ 0 w 205460"/>
                  <a:gd name="connsiteY8" fmla="*/ 0 h 247840"/>
                  <a:gd name="connsiteX9" fmla="*/ 44196 w 205460"/>
                  <a:gd name="connsiteY9" fmla="*/ 0 h 247840"/>
                  <a:gd name="connsiteX10" fmla="*/ 44196 w 205460"/>
                  <a:gd name="connsiteY10" fmla="*/ 137541 h 247840"/>
                  <a:gd name="connsiteX11" fmla="*/ 58960 w 205460"/>
                  <a:gd name="connsiteY11" fmla="*/ 190976 h 247840"/>
                  <a:gd name="connsiteX12" fmla="*/ 102965 w 205460"/>
                  <a:gd name="connsiteY12" fmla="*/ 207550 h 247840"/>
                  <a:gd name="connsiteX13" fmla="*/ 147256 w 205460"/>
                  <a:gd name="connsiteY13" fmla="*/ 188214 h 247840"/>
                  <a:gd name="connsiteX14" fmla="*/ 161734 w 205460"/>
                  <a:gd name="connsiteY14" fmla="*/ 128207 h 247840"/>
                  <a:gd name="connsiteX15" fmla="*/ 161354 w 205460"/>
                  <a:gd name="connsiteY15" fmla="*/ 0 h 24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5460" h="247840">
                    <a:moveTo>
                      <a:pt x="161258" y="0"/>
                    </a:moveTo>
                    <a:lnTo>
                      <a:pt x="205073" y="0"/>
                    </a:lnTo>
                    <a:lnTo>
                      <a:pt x="205454" y="130302"/>
                    </a:lnTo>
                    <a:cubicBezTo>
                      <a:pt x="205645" y="154686"/>
                      <a:pt x="201739" y="175641"/>
                      <a:pt x="193738" y="193262"/>
                    </a:cubicBezTo>
                    <a:cubicBezTo>
                      <a:pt x="185738" y="210884"/>
                      <a:pt x="174022" y="224314"/>
                      <a:pt x="158782" y="233744"/>
                    </a:cubicBezTo>
                    <a:cubicBezTo>
                      <a:pt x="143542" y="243173"/>
                      <a:pt x="125063" y="247841"/>
                      <a:pt x="103632" y="247841"/>
                    </a:cubicBezTo>
                    <a:cubicBezTo>
                      <a:pt x="69247" y="247841"/>
                      <a:pt x="43339" y="239078"/>
                      <a:pt x="26003" y="221456"/>
                    </a:cubicBezTo>
                    <a:cubicBezTo>
                      <a:pt x="8668" y="203835"/>
                      <a:pt x="0" y="177070"/>
                      <a:pt x="0" y="140970"/>
                    </a:cubicBezTo>
                    <a:lnTo>
                      <a:pt x="0" y="0"/>
                    </a:lnTo>
                    <a:lnTo>
                      <a:pt x="44196" y="0"/>
                    </a:lnTo>
                    <a:lnTo>
                      <a:pt x="44196" y="137541"/>
                    </a:lnTo>
                    <a:cubicBezTo>
                      <a:pt x="44196" y="162116"/>
                      <a:pt x="49149" y="179927"/>
                      <a:pt x="58960" y="190976"/>
                    </a:cubicBezTo>
                    <a:cubicBezTo>
                      <a:pt x="68771" y="202025"/>
                      <a:pt x="83439" y="207550"/>
                      <a:pt x="102965" y="207550"/>
                    </a:cubicBezTo>
                    <a:cubicBezTo>
                      <a:pt x="122492" y="207550"/>
                      <a:pt x="137446" y="201168"/>
                      <a:pt x="147256" y="188214"/>
                    </a:cubicBezTo>
                    <a:cubicBezTo>
                      <a:pt x="157067" y="175355"/>
                      <a:pt x="161925" y="155353"/>
                      <a:pt x="161734" y="128207"/>
                    </a:cubicBezTo>
                    <a:lnTo>
                      <a:pt x="161354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5" name="Forme libre : forme 24">
                <a:extLst>
                  <a:ext uri="{FF2B5EF4-FFF2-40B4-BE49-F238E27FC236}">
                    <a16:creationId xmlns:a16="http://schemas.microsoft.com/office/drawing/2014/main" id="{1FD509A9-1401-3EEA-7E98-FDD6252F1BCA}"/>
                  </a:ext>
                </a:extLst>
              </p:cNvPr>
              <p:cNvSpPr/>
              <p:nvPr/>
            </p:nvSpPr>
            <p:spPr>
              <a:xfrm>
                <a:off x="2808345" y="853507"/>
                <a:ext cx="239172" cy="244792"/>
              </a:xfrm>
              <a:custGeom>
                <a:avLst/>
                <a:gdLst>
                  <a:gd name="connsiteX0" fmla="*/ 0 w 239172"/>
                  <a:gd name="connsiteY0" fmla="*/ 244792 h 244792"/>
                  <a:gd name="connsiteX1" fmla="*/ 102965 w 239172"/>
                  <a:gd name="connsiteY1" fmla="*/ 0 h 244792"/>
                  <a:gd name="connsiteX2" fmla="*/ 140303 w 239172"/>
                  <a:gd name="connsiteY2" fmla="*/ 0 h 244792"/>
                  <a:gd name="connsiteX3" fmla="*/ 239173 w 239172"/>
                  <a:gd name="connsiteY3" fmla="*/ 244792 h 244792"/>
                  <a:gd name="connsiteX4" fmla="*/ 194310 w 239172"/>
                  <a:gd name="connsiteY4" fmla="*/ 244792 h 244792"/>
                  <a:gd name="connsiteX5" fmla="*/ 172593 w 239172"/>
                  <a:gd name="connsiteY5" fmla="*/ 188976 h 244792"/>
                  <a:gd name="connsiteX6" fmla="*/ 67247 w 239172"/>
                  <a:gd name="connsiteY6" fmla="*/ 188976 h 244792"/>
                  <a:gd name="connsiteX7" fmla="*/ 44863 w 239172"/>
                  <a:gd name="connsiteY7" fmla="*/ 244792 h 244792"/>
                  <a:gd name="connsiteX8" fmla="*/ 0 w 239172"/>
                  <a:gd name="connsiteY8" fmla="*/ 244792 h 244792"/>
                  <a:gd name="connsiteX9" fmla="*/ 82582 w 239172"/>
                  <a:gd name="connsiteY9" fmla="*/ 151352 h 244792"/>
                  <a:gd name="connsiteX10" fmla="*/ 158306 w 239172"/>
                  <a:gd name="connsiteY10" fmla="*/ 151352 h 244792"/>
                  <a:gd name="connsiteX11" fmla="*/ 120968 w 239172"/>
                  <a:gd name="connsiteY11" fmla="*/ 55150 h 244792"/>
                  <a:gd name="connsiteX12" fmla="*/ 82582 w 239172"/>
                  <a:gd name="connsiteY12" fmla="*/ 151352 h 244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9172" h="244792">
                    <a:moveTo>
                      <a:pt x="0" y="244792"/>
                    </a:moveTo>
                    <a:lnTo>
                      <a:pt x="102965" y="0"/>
                    </a:lnTo>
                    <a:lnTo>
                      <a:pt x="140303" y="0"/>
                    </a:lnTo>
                    <a:lnTo>
                      <a:pt x="239173" y="244792"/>
                    </a:lnTo>
                    <a:lnTo>
                      <a:pt x="194310" y="244792"/>
                    </a:lnTo>
                    <a:lnTo>
                      <a:pt x="172593" y="188976"/>
                    </a:lnTo>
                    <a:lnTo>
                      <a:pt x="67247" y="188976"/>
                    </a:lnTo>
                    <a:lnTo>
                      <a:pt x="44863" y="244792"/>
                    </a:lnTo>
                    <a:lnTo>
                      <a:pt x="0" y="244792"/>
                    </a:lnTo>
                    <a:close/>
                    <a:moveTo>
                      <a:pt x="82582" y="151352"/>
                    </a:moveTo>
                    <a:lnTo>
                      <a:pt x="158306" y="151352"/>
                    </a:lnTo>
                    <a:lnTo>
                      <a:pt x="120968" y="55150"/>
                    </a:lnTo>
                    <a:lnTo>
                      <a:pt x="82582" y="151352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6" name="Forme libre : forme 25">
                <a:extLst>
                  <a:ext uri="{FF2B5EF4-FFF2-40B4-BE49-F238E27FC236}">
                    <a16:creationId xmlns:a16="http://schemas.microsoft.com/office/drawing/2014/main" id="{D2C794CF-F256-EFBE-73F5-5F531A129CCF}"/>
                  </a:ext>
                </a:extLst>
              </p:cNvPr>
              <p:cNvSpPr/>
              <p:nvPr/>
            </p:nvSpPr>
            <p:spPr>
              <a:xfrm>
                <a:off x="3091905" y="850173"/>
                <a:ext cx="214407" cy="251364"/>
              </a:xfrm>
              <a:custGeom>
                <a:avLst/>
                <a:gdLst>
                  <a:gd name="connsiteX0" fmla="*/ 214027 w 214407"/>
                  <a:gd name="connsiteY0" fmla="*/ 200597 h 251364"/>
                  <a:gd name="connsiteX1" fmla="*/ 174593 w 214407"/>
                  <a:gd name="connsiteY1" fmla="*/ 238220 h 251364"/>
                  <a:gd name="connsiteX2" fmla="*/ 118205 w 214407"/>
                  <a:gd name="connsiteY2" fmla="*/ 251365 h 251364"/>
                  <a:gd name="connsiteX3" fmla="*/ 54674 w 214407"/>
                  <a:gd name="connsiteY3" fmla="*/ 236887 h 251364"/>
                  <a:gd name="connsiteX4" fmla="*/ 14097 w 214407"/>
                  <a:gd name="connsiteY4" fmla="*/ 195358 h 251364"/>
                  <a:gd name="connsiteX5" fmla="*/ 0 w 214407"/>
                  <a:gd name="connsiteY5" fmla="*/ 130683 h 251364"/>
                  <a:gd name="connsiteX6" fmla="*/ 15621 w 214407"/>
                  <a:gd name="connsiteY6" fmla="*/ 62389 h 251364"/>
                  <a:gd name="connsiteX7" fmla="*/ 59055 w 214407"/>
                  <a:gd name="connsiteY7" fmla="*/ 16573 h 251364"/>
                  <a:gd name="connsiteX8" fmla="*/ 123634 w 214407"/>
                  <a:gd name="connsiteY8" fmla="*/ 0 h 251364"/>
                  <a:gd name="connsiteX9" fmla="*/ 177165 w 214407"/>
                  <a:gd name="connsiteY9" fmla="*/ 12097 h 251364"/>
                  <a:gd name="connsiteX10" fmla="*/ 214408 w 214407"/>
                  <a:gd name="connsiteY10" fmla="*/ 48673 h 251364"/>
                  <a:gd name="connsiteX11" fmla="*/ 180404 w 214407"/>
                  <a:gd name="connsiteY11" fmla="*/ 73533 h 251364"/>
                  <a:gd name="connsiteX12" fmla="*/ 156305 w 214407"/>
                  <a:gd name="connsiteY12" fmla="*/ 48387 h 251364"/>
                  <a:gd name="connsiteX13" fmla="*/ 123349 w 214407"/>
                  <a:gd name="connsiteY13" fmla="*/ 40481 h 251364"/>
                  <a:gd name="connsiteX14" fmla="*/ 82582 w 214407"/>
                  <a:gd name="connsiteY14" fmla="*/ 51816 h 251364"/>
                  <a:gd name="connsiteX15" fmla="*/ 54864 w 214407"/>
                  <a:gd name="connsiteY15" fmla="*/ 83344 h 251364"/>
                  <a:gd name="connsiteX16" fmla="*/ 44863 w 214407"/>
                  <a:gd name="connsiteY16" fmla="*/ 130016 h 251364"/>
                  <a:gd name="connsiteX17" fmla="*/ 64389 w 214407"/>
                  <a:gd name="connsiteY17" fmla="*/ 189643 h 251364"/>
                  <a:gd name="connsiteX18" fmla="*/ 118872 w 214407"/>
                  <a:gd name="connsiteY18" fmla="*/ 210979 h 251364"/>
                  <a:gd name="connsiteX19" fmla="*/ 154496 w 214407"/>
                  <a:gd name="connsiteY19" fmla="*/ 202025 h 251364"/>
                  <a:gd name="connsiteX20" fmla="*/ 180975 w 214407"/>
                  <a:gd name="connsiteY20" fmla="*/ 174784 h 251364"/>
                  <a:gd name="connsiteX21" fmla="*/ 213931 w 214407"/>
                  <a:gd name="connsiteY21" fmla="*/ 200597 h 251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14407" h="251364">
                    <a:moveTo>
                      <a:pt x="214027" y="200597"/>
                    </a:moveTo>
                    <a:cubicBezTo>
                      <a:pt x="204502" y="216884"/>
                      <a:pt x="191357" y="229457"/>
                      <a:pt x="174593" y="238220"/>
                    </a:cubicBezTo>
                    <a:cubicBezTo>
                      <a:pt x="157829" y="246983"/>
                      <a:pt x="139065" y="251365"/>
                      <a:pt x="118205" y="251365"/>
                    </a:cubicBezTo>
                    <a:cubicBezTo>
                      <a:pt x="93536" y="251365"/>
                      <a:pt x="72295" y="246507"/>
                      <a:pt x="54674" y="236887"/>
                    </a:cubicBezTo>
                    <a:cubicBezTo>
                      <a:pt x="37052" y="227267"/>
                      <a:pt x="23432" y="213360"/>
                      <a:pt x="14097" y="195358"/>
                    </a:cubicBezTo>
                    <a:cubicBezTo>
                      <a:pt x="4667" y="177355"/>
                      <a:pt x="0" y="155734"/>
                      <a:pt x="0" y="130683"/>
                    </a:cubicBezTo>
                    <a:cubicBezTo>
                      <a:pt x="0" y="105632"/>
                      <a:pt x="5239" y="81915"/>
                      <a:pt x="15621" y="62389"/>
                    </a:cubicBezTo>
                    <a:cubicBezTo>
                      <a:pt x="26003" y="42863"/>
                      <a:pt x="40577" y="27527"/>
                      <a:pt x="59055" y="16573"/>
                    </a:cubicBezTo>
                    <a:cubicBezTo>
                      <a:pt x="77629" y="5524"/>
                      <a:pt x="99155" y="0"/>
                      <a:pt x="123634" y="0"/>
                    </a:cubicBezTo>
                    <a:cubicBezTo>
                      <a:pt x="144494" y="0"/>
                      <a:pt x="162306" y="4001"/>
                      <a:pt x="177165" y="12097"/>
                    </a:cubicBezTo>
                    <a:cubicBezTo>
                      <a:pt x="192024" y="20098"/>
                      <a:pt x="204407" y="32290"/>
                      <a:pt x="214408" y="48673"/>
                    </a:cubicBezTo>
                    <a:lnTo>
                      <a:pt x="180404" y="73533"/>
                    </a:lnTo>
                    <a:cubicBezTo>
                      <a:pt x="174308" y="62008"/>
                      <a:pt x="166211" y="53626"/>
                      <a:pt x="156305" y="48387"/>
                    </a:cubicBezTo>
                    <a:cubicBezTo>
                      <a:pt x="146304" y="43053"/>
                      <a:pt x="135350" y="40481"/>
                      <a:pt x="123349" y="40481"/>
                    </a:cubicBezTo>
                    <a:cubicBezTo>
                      <a:pt x="107918" y="40481"/>
                      <a:pt x="94393" y="44291"/>
                      <a:pt x="82582" y="51816"/>
                    </a:cubicBezTo>
                    <a:cubicBezTo>
                      <a:pt x="70771" y="59436"/>
                      <a:pt x="61532" y="69914"/>
                      <a:pt x="54864" y="83344"/>
                    </a:cubicBezTo>
                    <a:cubicBezTo>
                      <a:pt x="48196" y="96774"/>
                      <a:pt x="44863" y="112395"/>
                      <a:pt x="44863" y="130016"/>
                    </a:cubicBezTo>
                    <a:cubicBezTo>
                      <a:pt x="44863" y="155543"/>
                      <a:pt x="51340" y="175450"/>
                      <a:pt x="64389" y="189643"/>
                    </a:cubicBezTo>
                    <a:cubicBezTo>
                      <a:pt x="77438" y="203930"/>
                      <a:pt x="95631" y="210979"/>
                      <a:pt x="118872" y="210979"/>
                    </a:cubicBezTo>
                    <a:cubicBezTo>
                      <a:pt x="131826" y="210979"/>
                      <a:pt x="143637" y="208026"/>
                      <a:pt x="154496" y="202025"/>
                    </a:cubicBezTo>
                    <a:cubicBezTo>
                      <a:pt x="165354" y="196025"/>
                      <a:pt x="174212" y="186976"/>
                      <a:pt x="180975" y="174784"/>
                    </a:cubicBezTo>
                    <a:lnTo>
                      <a:pt x="213931" y="200597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7" name="Forme libre : forme 26">
                <a:extLst>
                  <a:ext uri="{FF2B5EF4-FFF2-40B4-BE49-F238E27FC236}">
                    <a16:creationId xmlns:a16="http://schemas.microsoft.com/office/drawing/2014/main" id="{EBB34F62-1D35-8FE5-061E-A32FA836E1A9}"/>
                  </a:ext>
                </a:extLst>
              </p:cNvPr>
              <p:cNvSpPr/>
              <p:nvPr/>
            </p:nvSpPr>
            <p:spPr>
              <a:xfrm>
                <a:off x="2238846" y="850078"/>
                <a:ext cx="254126" cy="254317"/>
              </a:xfrm>
              <a:custGeom>
                <a:avLst/>
                <a:gdLst>
                  <a:gd name="connsiteX0" fmla="*/ 200216 w 254126"/>
                  <a:gd name="connsiteY0" fmla="*/ 213074 h 254317"/>
                  <a:gd name="connsiteX1" fmla="*/ 230696 w 254126"/>
                  <a:gd name="connsiteY1" fmla="*/ 127159 h 254317"/>
                  <a:gd name="connsiteX2" fmla="*/ 115348 w 254126"/>
                  <a:gd name="connsiteY2" fmla="*/ 0 h 254317"/>
                  <a:gd name="connsiteX3" fmla="*/ 0 w 254126"/>
                  <a:gd name="connsiteY3" fmla="*/ 127159 h 254317"/>
                  <a:gd name="connsiteX4" fmla="*/ 96869 w 254126"/>
                  <a:gd name="connsiteY4" fmla="*/ 252508 h 254317"/>
                  <a:gd name="connsiteX5" fmla="*/ 96869 w 254126"/>
                  <a:gd name="connsiteY5" fmla="*/ 206788 h 254317"/>
                  <a:gd name="connsiteX6" fmla="*/ 40672 w 254126"/>
                  <a:gd name="connsiteY6" fmla="*/ 127159 h 254317"/>
                  <a:gd name="connsiteX7" fmla="*/ 115348 w 254126"/>
                  <a:gd name="connsiteY7" fmla="*/ 44863 h 254317"/>
                  <a:gd name="connsiteX8" fmla="*/ 190024 w 254126"/>
                  <a:gd name="connsiteY8" fmla="*/ 127159 h 254317"/>
                  <a:gd name="connsiteX9" fmla="*/ 137446 w 254126"/>
                  <a:gd name="connsiteY9" fmla="*/ 205835 h 254317"/>
                  <a:gd name="connsiteX10" fmla="*/ 137446 w 254126"/>
                  <a:gd name="connsiteY10" fmla="*/ 254317 h 254317"/>
                  <a:gd name="connsiteX11" fmla="*/ 254127 w 254126"/>
                  <a:gd name="connsiteY11" fmla="*/ 254317 h 254317"/>
                  <a:gd name="connsiteX12" fmla="*/ 254127 w 254126"/>
                  <a:gd name="connsiteY12" fmla="*/ 213074 h 254317"/>
                  <a:gd name="connsiteX13" fmla="*/ 200216 w 254126"/>
                  <a:gd name="connsiteY13" fmla="*/ 213074 h 254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4126" h="254317">
                    <a:moveTo>
                      <a:pt x="200216" y="213074"/>
                    </a:moveTo>
                    <a:cubicBezTo>
                      <a:pt x="219075" y="190405"/>
                      <a:pt x="230696" y="160306"/>
                      <a:pt x="230696" y="127159"/>
                    </a:cubicBezTo>
                    <a:cubicBezTo>
                      <a:pt x="230696" y="56959"/>
                      <a:pt x="179070" y="0"/>
                      <a:pt x="115348" y="0"/>
                    </a:cubicBezTo>
                    <a:cubicBezTo>
                      <a:pt x="51625" y="0"/>
                      <a:pt x="0" y="56959"/>
                      <a:pt x="0" y="127159"/>
                    </a:cubicBezTo>
                    <a:cubicBezTo>
                      <a:pt x="0" y="190405"/>
                      <a:pt x="42005" y="242697"/>
                      <a:pt x="96869" y="252508"/>
                    </a:cubicBezTo>
                    <a:lnTo>
                      <a:pt x="96869" y="206788"/>
                    </a:lnTo>
                    <a:cubicBezTo>
                      <a:pt x="64579" y="197739"/>
                      <a:pt x="40672" y="165544"/>
                      <a:pt x="40672" y="127159"/>
                    </a:cubicBezTo>
                    <a:cubicBezTo>
                      <a:pt x="40672" y="81725"/>
                      <a:pt x="74104" y="44863"/>
                      <a:pt x="115348" y="44863"/>
                    </a:cubicBezTo>
                    <a:cubicBezTo>
                      <a:pt x="156591" y="44863"/>
                      <a:pt x="190024" y="81725"/>
                      <a:pt x="190024" y="127159"/>
                    </a:cubicBezTo>
                    <a:cubicBezTo>
                      <a:pt x="190024" y="164116"/>
                      <a:pt x="167926" y="195453"/>
                      <a:pt x="137446" y="205835"/>
                    </a:cubicBezTo>
                    <a:lnTo>
                      <a:pt x="137446" y="254317"/>
                    </a:lnTo>
                    <a:lnTo>
                      <a:pt x="254127" y="254317"/>
                    </a:lnTo>
                    <a:lnTo>
                      <a:pt x="254127" y="213074"/>
                    </a:lnTo>
                    <a:lnTo>
                      <a:pt x="200216" y="213074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8" name="Forme libre : forme 27">
                <a:extLst>
                  <a:ext uri="{FF2B5EF4-FFF2-40B4-BE49-F238E27FC236}">
                    <a16:creationId xmlns:a16="http://schemas.microsoft.com/office/drawing/2014/main" id="{BF16DC98-DF70-2103-2178-F19B450199CC}"/>
                  </a:ext>
                </a:extLst>
              </p:cNvPr>
              <p:cNvSpPr/>
              <p:nvPr/>
            </p:nvSpPr>
            <p:spPr>
              <a:xfrm>
                <a:off x="3462904" y="853602"/>
                <a:ext cx="85248" cy="101536"/>
              </a:xfrm>
              <a:custGeom>
                <a:avLst/>
                <a:gdLst>
                  <a:gd name="connsiteX0" fmla="*/ 85249 w 85248"/>
                  <a:gd name="connsiteY0" fmla="*/ 0 h 101536"/>
                  <a:gd name="connsiteX1" fmla="*/ 39052 w 85248"/>
                  <a:gd name="connsiteY1" fmla="*/ 0 h 101536"/>
                  <a:gd name="connsiteX2" fmla="*/ 0 w 85248"/>
                  <a:gd name="connsiteY2" fmla="*/ 59531 h 101536"/>
                  <a:gd name="connsiteX3" fmla="*/ 25622 w 85248"/>
                  <a:gd name="connsiteY3" fmla="*/ 101537 h 101536"/>
                  <a:gd name="connsiteX4" fmla="*/ 85249 w 85248"/>
                  <a:gd name="connsiteY4" fmla="*/ 0 h 101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248" h="101536">
                    <a:moveTo>
                      <a:pt x="85249" y="0"/>
                    </a:moveTo>
                    <a:lnTo>
                      <a:pt x="39052" y="0"/>
                    </a:lnTo>
                    <a:lnTo>
                      <a:pt x="0" y="59531"/>
                    </a:lnTo>
                    <a:lnTo>
                      <a:pt x="25622" y="101537"/>
                    </a:lnTo>
                    <a:lnTo>
                      <a:pt x="85249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9" name="Forme libre : forme 28">
                <a:extLst>
                  <a:ext uri="{FF2B5EF4-FFF2-40B4-BE49-F238E27FC236}">
                    <a16:creationId xmlns:a16="http://schemas.microsoft.com/office/drawing/2014/main" id="{1FA806D6-2747-A9BD-4F15-FE47511B28DC}"/>
                  </a:ext>
                </a:extLst>
              </p:cNvPr>
              <p:cNvSpPr/>
              <p:nvPr/>
            </p:nvSpPr>
            <p:spPr>
              <a:xfrm>
                <a:off x="3332792" y="853602"/>
                <a:ext cx="131159" cy="244697"/>
              </a:xfrm>
              <a:custGeom>
                <a:avLst/>
                <a:gdLst>
                  <a:gd name="connsiteX0" fmla="*/ 49911 w 131159"/>
                  <a:gd name="connsiteY0" fmla="*/ 0 h 244697"/>
                  <a:gd name="connsiteX1" fmla="*/ 0 w 131159"/>
                  <a:gd name="connsiteY1" fmla="*/ 0 h 244697"/>
                  <a:gd name="connsiteX2" fmla="*/ 86678 w 131159"/>
                  <a:gd name="connsiteY2" fmla="*/ 136112 h 244697"/>
                  <a:gd name="connsiteX3" fmla="*/ 86678 w 131159"/>
                  <a:gd name="connsiteY3" fmla="*/ 244697 h 244697"/>
                  <a:gd name="connsiteX4" fmla="*/ 131159 w 131159"/>
                  <a:gd name="connsiteY4" fmla="*/ 244697 h 244697"/>
                  <a:gd name="connsiteX5" fmla="*/ 131159 w 131159"/>
                  <a:gd name="connsiteY5" fmla="*/ 135446 h 244697"/>
                  <a:gd name="connsiteX6" fmla="*/ 116681 w 131159"/>
                  <a:gd name="connsiteY6" fmla="*/ 111062 h 244697"/>
                  <a:gd name="connsiteX7" fmla="*/ 49911 w 131159"/>
                  <a:gd name="connsiteY7" fmla="*/ 0 h 24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1159" h="244697">
                    <a:moveTo>
                      <a:pt x="49911" y="0"/>
                    </a:moveTo>
                    <a:lnTo>
                      <a:pt x="0" y="0"/>
                    </a:lnTo>
                    <a:lnTo>
                      <a:pt x="86678" y="136112"/>
                    </a:lnTo>
                    <a:lnTo>
                      <a:pt x="86678" y="244697"/>
                    </a:lnTo>
                    <a:lnTo>
                      <a:pt x="131159" y="244697"/>
                    </a:lnTo>
                    <a:lnTo>
                      <a:pt x="131159" y="135446"/>
                    </a:lnTo>
                    <a:lnTo>
                      <a:pt x="116681" y="111062"/>
                    </a:lnTo>
                    <a:lnTo>
                      <a:pt x="49911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0" name="Forme libre : forme 29">
                <a:extLst>
                  <a:ext uri="{FF2B5EF4-FFF2-40B4-BE49-F238E27FC236}">
                    <a16:creationId xmlns:a16="http://schemas.microsoft.com/office/drawing/2014/main" id="{D12FE2E2-58ED-349F-B64B-35F0929BA0D2}"/>
                  </a:ext>
                </a:extLst>
              </p:cNvPr>
              <p:cNvSpPr/>
              <p:nvPr/>
            </p:nvSpPr>
            <p:spPr>
              <a:xfrm>
                <a:off x="3449473" y="964664"/>
                <a:ext cx="14477" cy="24383"/>
              </a:xfrm>
              <a:custGeom>
                <a:avLst/>
                <a:gdLst>
                  <a:gd name="connsiteX0" fmla="*/ 0 w 14477"/>
                  <a:gd name="connsiteY0" fmla="*/ 0 h 24383"/>
                  <a:gd name="connsiteX1" fmla="*/ 14478 w 14477"/>
                  <a:gd name="connsiteY1" fmla="*/ 24384 h 24383"/>
                  <a:gd name="connsiteX2" fmla="*/ 14478 w 14477"/>
                  <a:gd name="connsiteY2" fmla="*/ 24003 h 24383"/>
                  <a:gd name="connsiteX3" fmla="*/ 0 w 14477"/>
                  <a:gd name="connsiteY3" fmla="*/ 0 h 24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77" h="24383">
                    <a:moveTo>
                      <a:pt x="0" y="0"/>
                    </a:moveTo>
                    <a:lnTo>
                      <a:pt x="14478" y="24384"/>
                    </a:lnTo>
                    <a:lnTo>
                      <a:pt x="14478" y="2400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1" name="Forme libre : forme 30">
                <a:extLst>
                  <a:ext uri="{FF2B5EF4-FFF2-40B4-BE49-F238E27FC236}">
                    <a16:creationId xmlns:a16="http://schemas.microsoft.com/office/drawing/2014/main" id="{EC5A23E5-DFD0-558C-519C-5C2B34B79451}"/>
                  </a:ext>
                </a:extLst>
              </p:cNvPr>
              <p:cNvSpPr/>
              <p:nvPr/>
            </p:nvSpPr>
            <p:spPr>
              <a:xfrm>
                <a:off x="1429221" y="853602"/>
                <a:ext cx="239077" cy="244697"/>
              </a:xfrm>
              <a:custGeom>
                <a:avLst/>
                <a:gdLst>
                  <a:gd name="connsiteX0" fmla="*/ 140303 w 239077"/>
                  <a:gd name="connsiteY0" fmla="*/ 0 h 244697"/>
                  <a:gd name="connsiteX1" fmla="*/ 102870 w 239077"/>
                  <a:gd name="connsiteY1" fmla="*/ 0 h 244697"/>
                  <a:gd name="connsiteX2" fmla="*/ 0 w 239077"/>
                  <a:gd name="connsiteY2" fmla="*/ 244697 h 244697"/>
                  <a:gd name="connsiteX3" fmla="*/ 44768 w 239077"/>
                  <a:gd name="connsiteY3" fmla="*/ 244697 h 244697"/>
                  <a:gd name="connsiteX4" fmla="*/ 120872 w 239077"/>
                  <a:gd name="connsiteY4" fmla="*/ 55150 h 244697"/>
                  <a:gd name="connsiteX5" fmla="*/ 158306 w 239077"/>
                  <a:gd name="connsiteY5" fmla="*/ 151352 h 244697"/>
                  <a:gd name="connsiteX6" fmla="*/ 123158 w 239077"/>
                  <a:gd name="connsiteY6" fmla="*/ 150971 h 244697"/>
                  <a:gd name="connsiteX7" fmla="*/ 107347 w 239077"/>
                  <a:gd name="connsiteY7" fmla="*/ 189262 h 244697"/>
                  <a:gd name="connsiteX8" fmla="*/ 172498 w 239077"/>
                  <a:gd name="connsiteY8" fmla="*/ 188881 h 244697"/>
                  <a:gd name="connsiteX9" fmla="*/ 194310 w 239077"/>
                  <a:gd name="connsiteY9" fmla="*/ 244697 h 244697"/>
                  <a:gd name="connsiteX10" fmla="*/ 239077 w 239077"/>
                  <a:gd name="connsiteY10" fmla="*/ 244697 h 244697"/>
                  <a:gd name="connsiteX11" fmla="*/ 140303 w 239077"/>
                  <a:gd name="connsiteY11" fmla="*/ 0 h 244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9077" h="244697">
                    <a:moveTo>
                      <a:pt x="140303" y="0"/>
                    </a:moveTo>
                    <a:lnTo>
                      <a:pt x="102870" y="0"/>
                    </a:lnTo>
                    <a:lnTo>
                      <a:pt x="0" y="244697"/>
                    </a:lnTo>
                    <a:lnTo>
                      <a:pt x="44768" y="244697"/>
                    </a:lnTo>
                    <a:lnTo>
                      <a:pt x="120872" y="55150"/>
                    </a:lnTo>
                    <a:lnTo>
                      <a:pt x="158306" y="151352"/>
                    </a:lnTo>
                    <a:lnTo>
                      <a:pt x="123158" y="150971"/>
                    </a:lnTo>
                    <a:lnTo>
                      <a:pt x="107347" y="189262"/>
                    </a:lnTo>
                    <a:lnTo>
                      <a:pt x="172498" y="188881"/>
                    </a:lnTo>
                    <a:lnTo>
                      <a:pt x="194310" y="244697"/>
                    </a:lnTo>
                    <a:lnTo>
                      <a:pt x="239077" y="244697"/>
                    </a:lnTo>
                    <a:lnTo>
                      <a:pt x="140303" y="0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grpSp>
          <p:nvGrpSpPr>
            <p:cNvPr id="12" name="Graphique 7">
              <a:extLst>
                <a:ext uri="{FF2B5EF4-FFF2-40B4-BE49-F238E27FC236}">
                  <a16:creationId xmlns:a16="http://schemas.microsoft.com/office/drawing/2014/main" id="{244C88B2-AAC4-94F3-0163-834164599194}"/>
                </a:ext>
              </a:extLst>
            </p:cNvPr>
            <p:cNvGrpSpPr/>
            <p:nvPr/>
          </p:nvGrpSpPr>
          <p:grpSpPr>
            <a:xfrm>
              <a:off x="888105" y="743588"/>
              <a:ext cx="419481" cy="496633"/>
              <a:chOff x="888105" y="743588"/>
              <a:chExt cx="419481" cy="496633"/>
            </a:xfrm>
          </p:grpSpPr>
          <p:sp>
            <p:nvSpPr>
              <p:cNvPr id="13" name="Forme libre : forme 12">
                <a:extLst>
                  <a:ext uri="{FF2B5EF4-FFF2-40B4-BE49-F238E27FC236}">
                    <a16:creationId xmlns:a16="http://schemas.microsoft.com/office/drawing/2014/main" id="{BD0AE70A-7915-B35E-CE83-8AA918E03E00}"/>
                  </a:ext>
                </a:extLst>
              </p:cNvPr>
              <p:cNvSpPr/>
              <p:nvPr/>
            </p:nvSpPr>
            <p:spPr>
              <a:xfrm>
                <a:off x="968020" y="841696"/>
                <a:ext cx="259842" cy="261747"/>
              </a:xfrm>
              <a:custGeom>
                <a:avLst/>
                <a:gdLst>
                  <a:gd name="connsiteX0" fmla="*/ 152400 w 259842"/>
                  <a:gd name="connsiteY0" fmla="*/ 0 h 261747"/>
                  <a:gd name="connsiteX1" fmla="*/ 111824 w 259842"/>
                  <a:gd name="connsiteY1" fmla="*/ 0 h 261747"/>
                  <a:gd name="connsiteX2" fmla="*/ 0 w 259842"/>
                  <a:gd name="connsiteY2" fmla="*/ 261747 h 261747"/>
                  <a:gd name="connsiteX3" fmla="*/ 48768 w 259842"/>
                  <a:gd name="connsiteY3" fmla="*/ 261747 h 261747"/>
                  <a:gd name="connsiteX4" fmla="*/ 131350 w 259842"/>
                  <a:gd name="connsiteY4" fmla="*/ 58960 h 261747"/>
                  <a:gd name="connsiteX5" fmla="*/ 172022 w 259842"/>
                  <a:gd name="connsiteY5" fmla="*/ 161830 h 261747"/>
                  <a:gd name="connsiteX6" fmla="*/ 133445 w 259842"/>
                  <a:gd name="connsiteY6" fmla="*/ 161830 h 261747"/>
                  <a:gd name="connsiteX7" fmla="*/ 116777 w 259842"/>
                  <a:gd name="connsiteY7" fmla="*/ 202597 h 261747"/>
                  <a:gd name="connsiteX8" fmla="*/ 187452 w 259842"/>
                  <a:gd name="connsiteY8" fmla="*/ 202025 h 261747"/>
                  <a:gd name="connsiteX9" fmla="*/ 211074 w 259842"/>
                  <a:gd name="connsiteY9" fmla="*/ 261747 h 261747"/>
                  <a:gd name="connsiteX10" fmla="*/ 259842 w 259842"/>
                  <a:gd name="connsiteY10" fmla="*/ 261747 h 261747"/>
                  <a:gd name="connsiteX11" fmla="*/ 152400 w 259842"/>
                  <a:gd name="connsiteY11" fmla="*/ 0 h 261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9842" h="261747">
                    <a:moveTo>
                      <a:pt x="152400" y="0"/>
                    </a:moveTo>
                    <a:lnTo>
                      <a:pt x="111824" y="0"/>
                    </a:lnTo>
                    <a:lnTo>
                      <a:pt x="0" y="261747"/>
                    </a:lnTo>
                    <a:lnTo>
                      <a:pt x="48768" y="261747"/>
                    </a:lnTo>
                    <a:lnTo>
                      <a:pt x="131350" y="58960"/>
                    </a:lnTo>
                    <a:lnTo>
                      <a:pt x="172022" y="161830"/>
                    </a:lnTo>
                    <a:lnTo>
                      <a:pt x="133445" y="161830"/>
                    </a:lnTo>
                    <a:lnTo>
                      <a:pt x="116777" y="202597"/>
                    </a:lnTo>
                    <a:lnTo>
                      <a:pt x="187452" y="202025"/>
                    </a:lnTo>
                    <a:lnTo>
                      <a:pt x="211074" y="261747"/>
                    </a:lnTo>
                    <a:lnTo>
                      <a:pt x="259842" y="261747"/>
                    </a:lnTo>
                    <a:lnTo>
                      <a:pt x="152400" y="0"/>
                    </a:lnTo>
                    <a:close/>
                  </a:path>
                </a:pathLst>
              </a:custGeom>
              <a:solidFill>
                <a:srgbClr val="55FDB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4" name="Forme libre : forme 13">
                <a:extLst>
                  <a:ext uri="{FF2B5EF4-FFF2-40B4-BE49-F238E27FC236}">
                    <a16:creationId xmlns:a16="http://schemas.microsoft.com/office/drawing/2014/main" id="{90AB319E-AE17-3617-4EE3-F1A3435AFC8A}"/>
                  </a:ext>
                </a:extLst>
              </p:cNvPr>
              <p:cNvSpPr/>
              <p:nvPr/>
            </p:nvSpPr>
            <p:spPr>
              <a:xfrm>
                <a:off x="888105" y="743588"/>
                <a:ext cx="419481" cy="496633"/>
              </a:xfrm>
              <a:custGeom>
                <a:avLst/>
                <a:gdLst>
                  <a:gd name="connsiteX0" fmla="*/ 268891 w 419481"/>
                  <a:gd name="connsiteY0" fmla="*/ 496538 h 496633"/>
                  <a:gd name="connsiteX1" fmla="*/ 159639 w 419481"/>
                  <a:gd name="connsiteY1" fmla="*/ 496538 h 496633"/>
                  <a:gd name="connsiteX2" fmla="*/ 0 w 419481"/>
                  <a:gd name="connsiteY2" fmla="*/ 332041 h 496633"/>
                  <a:gd name="connsiteX3" fmla="*/ 0 w 419481"/>
                  <a:gd name="connsiteY3" fmla="*/ 100394 h 496633"/>
                  <a:gd name="connsiteX4" fmla="*/ 97631 w 419481"/>
                  <a:gd name="connsiteY4" fmla="*/ 0 h 496633"/>
                  <a:gd name="connsiteX5" fmla="*/ 321755 w 419481"/>
                  <a:gd name="connsiteY5" fmla="*/ 0 h 496633"/>
                  <a:gd name="connsiteX6" fmla="*/ 419481 w 419481"/>
                  <a:gd name="connsiteY6" fmla="*/ 100489 h 496633"/>
                  <a:gd name="connsiteX7" fmla="*/ 419481 w 419481"/>
                  <a:gd name="connsiteY7" fmla="*/ 332137 h 496633"/>
                  <a:gd name="connsiteX8" fmla="*/ 269081 w 419481"/>
                  <a:gd name="connsiteY8" fmla="*/ 496634 h 496633"/>
                  <a:gd name="connsiteX9" fmla="*/ 268891 w 419481"/>
                  <a:gd name="connsiteY9" fmla="*/ 496634 h 496633"/>
                  <a:gd name="connsiteX10" fmla="*/ 97631 w 419481"/>
                  <a:gd name="connsiteY10" fmla="*/ 18288 h 496633"/>
                  <a:gd name="connsiteX11" fmla="*/ 18669 w 419481"/>
                  <a:gd name="connsiteY11" fmla="*/ 100394 h 496633"/>
                  <a:gd name="connsiteX12" fmla="*/ 18669 w 419481"/>
                  <a:gd name="connsiteY12" fmla="*/ 332041 h 496633"/>
                  <a:gd name="connsiteX13" fmla="*/ 159830 w 419481"/>
                  <a:gd name="connsiteY13" fmla="*/ 478250 h 496633"/>
                  <a:gd name="connsiteX14" fmla="*/ 268415 w 419481"/>
                  <a:gd name="connsiteY14" fmla="*/ 478250 h 496633"/>
                  <a:gd name="connsiteX15" fmla="*/ 400717 w 419481"/>
                  <a:gd name="connsiteY15" fmla="*/ 332041 h 496633"/>
                  <a:gd name="connsiteX16" fmla="*/ 400717 w 419481"/>
                  <a:gd name="connsiteY16" fmla="*/ 100394 h 496633"/>
                  <a:gd name="connsiteX17" fmla="*/ 321755 w 419481"/>
                  <a:gd name="connsiteY17" fmla="*/ 18288 h 496633"/>
                  <a:gd name="connsiteX18" fmla="*/ 97631 w 419481"/>
                  <a:gd name="connsiteY18" fmla="*/ 18288 h 4966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19481" h="496633">
                    <a:moveTo>
                      <a:pt x="268891" y="496538"/>
                    </a:moveTo>
                    <a:lnTo>
                      <a:pt x="159639" y="496538"/>
                    </a:lnTo>
                    <a:cubicBezTo>
                      <a:pt x="53245" y="494157"/>
                      <a:pt x="0" y="389763"/>
                      <a:pt x="0" y="332041"/>
                    </a:cubicBezTo>
                    <a:lnTo>
                      <a:pt x="0" y="100394"/>
                    </a:lnTo>
                    <a:cubicBezTo>
                      <a:pt x="-95" y="45053"/>
                      <a:pt x="43720" y="0"/>
                      <a:pt x="97631" y="0"/>
                    </a:cubicBezTo>
                    <a:lnTo>
                      <a:pt x="321755" y="0"/>
                    </a:lnTo>
                    <a:cubicBezTo>
                      <a:pt x="375666" y="0"/>
                      <a:pt x="419481" y="45053"/>
                      <a:pt x="419481" y="100489"/>
                    </a:cubicBezTo>
                    <a:lnTo>
                      <a:pt x="419481" y="332137"/>
                    </a:lnTo>
                    <a:cubicBezTo>
                      <a:pt x="419481" y="387096"/>
                      <a:pt x="367856" y="492062"/>
                      <a:pt x="269081" y="496634"/>
                    </a:cubicBezTo>
                    <a:lnTo>
                      <a:pt x="268891" y="496634"/>
                    </a:lnTo>
                    <a:close/>
                    <a:moveTo>
                      <a:pt x="97631" y="18288"/>
                    </a:moveTo>
                    <a:cubicBezTo>
                      <a:pt x="54102" y="18288"/>
                      <a:pt x="18669" y="55150"/>
                      <a:pt x="18669" y="100394"/>
                    </a:cubicBezTo>
                    <a:lnTo>
                      <a:pt x="18669" y="332041"/>
                    </a:lnTo>
                    <a:cubicBezTo>
                      <a:pt x="18669" y="374142"/>
                      <a:pt x="59246" y="475964"/>
                      <a:pt x="159830" y="478250"/>
                    </a:cubicBezTo>
                    <a:lnTo>
                      <a:pt x="268415" y="478250"/>
                    </a:lnTo>
                    <a:cubicBezTo>
                      <a:pt x="354044" y="474155"/>
                      <a:pt x="400717" y="379571"/>
                      <a:pt x="400717" y="332041"/>
                    </a:cubicBezTo>
                    <a:lnTo>
                      <a:pt x="400717" y="100394"/>
                    </a:lnTo>
                    <a:cubicBezTo>
                      <a:pt x="400717" y="55055"/>
                      <a:pt x="365284" y="18288"/>
                      <a:pt x="321755" y="18288"/>
                    </a:cubicBezTo>
                    <a:lnTo>
                      <a:pt x="97631" y="18288"/>
                    </a:lnTo>
                    <a:close/>
                  </a:path>
                </a:pathLst>
              </a:custGeom>
              <a:gradFill>
                <a:gsLst>
                  <a:gs pos="0">
                    <a:srgbClr val="55FDB5"/>
                  </a:gs>
                  <a:gs pos="26000">
                    <a:srgbClr val="9BFED3"/>
                  </a:gs>
                  <a:gs pos="52000">
                    <a:srgbClr val="E1FFF2"/>
                  </a:gs>
                  <a:gs pos="100000">
                    <a:srgbClr val="55FDB5"/>
                  </a:gs>
                </a:gsLst>
                <a:lin ang="18814640" scaled="1"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A00D463C-D264-F34C-09F3-6D086600B309}"/>
                  </a:ext>
                </a:extLst>
              </p:cNvPr>
              <p:cNvSpPr/>
              <p:nvPr/>
            </p:nvSpPr>
            <p:spPr>
              <a:xfrm>
                <a:off x="1084797" y="841696"/>
                <a:ext cx="142970" cy="261747"/>
              </a:xfrm>
              <a:custGeom>
                <a:avLst/>
                <a:gdLst>
                  <a:gd name="connsiteX0" fmla="*/ 14573 w 142970"/>
                  <a:gd name="connsiteY0" fmla="*/ 58960 h 261747"/>
                  <a:gd name="connsiteX1" fmla="*/ 55150 w 142970"/>
                  <a:gd name="connsiteY1" fmla="*/ 161830 h 261747"/>
                  <a:gd name="connsiteX2" fmla="*/ 16573 w 142970"/>
                  <a:gd name="connsiteY2" fmla="*/ 161830 h 261747"/>
                  <a:gd name="connsiteX3" fmla="*/ 0 w 142970"/>
                  <a:gd name="connsiteY3" fmla="*/ 202597 h 261747"/>
                  <a:gd name="connsiteX4" fmla="*/ 70676 w 142970"/>
                  <a:gd name="connsiteY4" fmla="*/ 202025 h 261747"/>
                  <a:gd name="connsiteX5" fmla="*/ 94298 w 142970"/>
                  <a:gd name="connsiteY5" fmla="*/ 261747 h 261747"/>
                  <a:gd name="connsiteX6" fmla="*/ 142970 w 142970"/>
                  <a:gd name="connsiteY6" fmla="*/ 261747 h 261747"/>
                  <a:gd name="connsiteX7" fmla="*/ 35623 w 142970"/>
                  <a:gd name="connsiteY7" fmla="*/ 0 h 261747"/>
                  <a:gd name="connsiteX8" fmla="*/ 14573 w 142970"/>
                  <a:gd name="connsiteY8" fmla="*/ 0 h 261747"/>
                  <a:gd name="connsiteX9" fmla="*/ 14573 w 142970"/>
                  <a:gd name="connsiteY9" fmla="*/ 58960 h 261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2970" h="261747">
                    <a:moveTo>
                      <a:pt x="14573" y="58960"/>
                    </a:moveTo>
                    <a:lnTo>
                      <a:pt x="55150" y="161830"/>
                    </a:lnTo>
                    <a:lnTo>
                      <a:pt x="16573" y="161830"/>
                    </a:lnTo>
                    <a:lnTo>
                      <a:pt x="0" y="202597"/>
                    </a:lnTo>
                    <a:lnTo>
                      <a:pt x="70676" y="202025"/>
                    </a:lnTo>
                    <a:lnTo>
                      <a:pt x="94298" y="261747"/>
                    </a:lnTo>
                    <a:lnTo>
                      <a:pt x="142970" y="261747"/>
                    </a:lnTo>
                    <a:lnTo>
                      <a:pt x="35623" y="0"/>
                    </a:lnTo>
                    <a:lnTo>
                      <a:pt x="14573" y="0"/>
                    </a:lnTo>
                    <a:lnTo>
                      <a:pt x="14573" y="58960"/>
                    </a:lnTo>
                    <a:close/>
                  </a:path>
                </a:pathLst>
              </a:custGeom>
              <a:solidFill>
                <a:srgbClr val="B0FED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5318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31C6B61-F09D-4FE0-1D8A-8B349740F7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2868" y="6338005"/>
            <a:ext cx="1121229" cy="365125"/>
          </a:xfrm>
        </p:spPr>
        <p:txBody>
          <a:bodyPr/>
          <a:lstStyle/>
          <a:p>
            <a:r>
              <a:rPr lang="fr-FR" dirty="0"/>
              <a:t>17/09/2024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6D2A1B5C-1558-8D9F-1006-43EA9F7EB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38004"/>
            <a:ext cx="5037084" cy="365125"/>
          </a:xfrm>
        </p:spPr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33FB52E-99FB-1091-C0E8-0E154CAB4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0720" y="6356350"/>
            <a:ext cx="513079" cy="365125"/>
          </a:xfrm>
        </p:spPr>
        <p:txBody>
          <a:bodyPr/>
          <a:lstStyle/>
          <a:p>
            <a:fld id="{B60F051A-2C40-4DB4-9DB8-47983C4B5745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6749881-03E5-66E7-61B0-20112D0D8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5475"/>
          </a:xfrm>
        </p:spPr>
        <p:txBody>
          <a:bodyPr>
            <a:normAutofit fontScale="90000"/>
          </a:bodyPr>
          <a:lstStyle/>
          <a:p>
            <a:r>
              <a:rPr lang="fr-FR" dirty="0"/>
              <a:t>Intervenants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7674BBD8-EEC6-2231-6B2E-AD6B01DCFDF5}"/>
              </a:ext>
            </a:extLst>
          </p:cNvPr>
          <p:cNvSpPr/>
          <p:nvPr/>
        </p:nvSpPr>
        <p:spPr>
          <a:xfrm>
            <a:off x="2870079" y="1871247"/>
            <a:ext cx="2167200" cy="2275200"/>
          </a:xfrm>
          <a:prstGeom prst="ellipse">
            <a:avLst/>
          </a:prstGeom>
          <a:solidFill>
            <a:srgbClr val="0070C0"/>
          </a:solidFill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87372C46-A063-67A4-1D25-25054644B52F}"/>
              </a:ext>
            </a:extLst>
          </p:cNvPr>
          <p:cNvSpPr txBox="1"/>
          <p:nvPr/>
        </p:nvSpPr>
        <p:spPr>
          <a:xfrm>
            <a:off x="3120760" y="4562770"/>
            <a:ext cx="16658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</a:rPr>
              <a:t>Céline Gallay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C3C6C583-C85C-FFD2-53A1-D12324D61F5A}"/>
              </a:ext>
            </a:extLst>
          </p:cNvPr>
          <p:cNvSpPr/>
          <p:nvPr/>
        </p:nvSpPr>
        <p:spPr>
          <a:xfrm>
            <a:off x="6623317" y="1890711"/>
            <a:ext cx="2167200" cy="2275200"/>
          </a:xfrm>
          <a:prstGeom prst="ellipse">
            <a:avLst/>
          </a:prstGeom>
          <a:solidFill>
            <a:schemeClr val="bg2"/>
          </a:solidFill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63319BD-5E07-F325-DD4B-FF17471C746F}"/>
              </a:ext>
            </a:extLst>
          </p:cNvPr>
          <p:cNvSpPr txBox="1"/>
          <p:nvPr/>
        </p:nvSpPr>
        <p:spPr>
          <a:xfrm>
            <a:off x="6222921" y="4572295"/>
            <a:ext cx="29679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</a:rPr>
              <a:t>Claire de la Fouchardièr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AA72BA6-46BD-7A50-2FBE-5D0AAEAB4F38}"/>
              </a:ext>
            </a:extLst>
          </p:cNvPr>
          <p:cNvSpPr txBox="1"/>
          <p:nvPr/>
        </p:nvSpPr>
        <p:spPr>
          <a:xfrm>
            <a:off x="6704463" y="4943770"/>
            <a:ext cx="20049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>
                <a:solidFill>
                  <a:schemeClr val="accent1"/>
                </a:solidFill>
              </a:rPr>
              <a:t>Product Manager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AFEAAC61-6C5E-F2CC-B797-390993066C47}"/>
              </a:ext>
            </a:extLst>
          </p:cNvPr>
          <p:cNvSpPr txBox="1"/>
          <p:nvPr/>
        </p:nvSpPr>
        <p:spPr>
          <a:xfrm>
            <a:off x="2883322" y="4934245"/>
            <a:ext cx="2140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dirty="0">
                <a:solidFill>
                  <a:schemeClr val="accent1"/>
                </a:solidFill>
              </a:rPr>
              <a:t>Consultante RGPD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0EBEB5E-96A7-423F-D7C3-5284498864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325"/>
          <a:stretch/>
        </p:blipFill>
        <p:spPr bwMode="auto">
          <a:xfrm>
            <a:off x="2870037" y="1872151"/>
            <a:ext cx="2167284" cy="2273392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 11" descr="Une image contenant Visage humain, personne, sourire, habits&#10;&#10;Description générée automatiquement">
            <a:extLst>
              <a:ext uri="{FF2B5EF4-FFF2-40B4-BE49-F238E27FC236}">
                <a16:creationId xmlns:a16="http://schemas.microsoft.com/office/drawing/2014/main" id="{62D93774-9352-5A01-B0D5-ED54EE38AE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58" t="4151" r="1765" b="32595"/>
          <a:stretch/>
        </p:blipFill>
        <p:spPr>
          <a:xfrm>
            <a:off x="6623317" y="1890663"/>
            <a:ext cx="2167200" cy="2275200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3124772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E94393D-0D98-9C00-86F7-7419F568B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911" y="3429000"/>
            <a:ext cx="6789555" cy="1666875"/>
          </a:xfrm>
        </p:spPr>
        <p:txBody>
          <a:bodyPr>
            <a:normAutofit/>
          </a:bodyPr>
          <a:lstStyle/>
          <a:p>
            <a:r>
              <a:rPr lang="fr-FR" sz="3600" dirty="0"/>
              <a:t>Le PIA, c’est (toujours) maintenant !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EF32BEE-581B-B3F4-FCB0-918E44C9178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092868" y="6338005"/>
            <a:ext cx="1121229" cy="365125"/>
          </a:xfrm>
        </p:spPr>
        <p:txBody>
          <a:bodyPr/>
          <a:lstStyle/>
          <a:p>
            <a:r>
              <a:rPr lang="fr-FR" dirty="0"/>
              <a:t>17/09/2024</a:t>
            </a:r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90546CD2-4E59-5AC2-43E8-61083B5994A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38200" y="6338004"/>
            <a:ext cx="5037084" cy="365125"/>
          </a:xfrm>
        </p:spPr>
        <p:txBody>
          <a:bodyPr/>
          <a:lstStyle/>
          <a:p>
            <a:r>
              <a:rPr lang="fr-FR"/>
              <a:t>Votre conformité RGPD mérite un logiciel performant</a:t>
            </a:r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355147F-68AE-F7C7-8478-DDF5A3919D7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840720" y="6356350"/>
            <a:ext cx="513079" cy="365125"/>
          </a:xfrm>
        </p:spPr>
        <p:txBody>
          <a:bodyPr/>
          <a:lstStyle/>
          <a:p>
            <a:fld id="{B60F051A-2C40-4DB4-9DB8-47983C4B5745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24775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Une image contenant léger, ampoule, intérieur&#10;&#10;Description générée automatiquement">
            <a:extLst>
              <a:ext uri="{FF2B5EF4-FFF2-40B4-BE49-F238E27FC236}">
                <a16:creationId xmlns:a16="http://schemas.microsoft.com/office/drawing/2014/main" id="{BC11664E-C16E-DB5C-476F-6F07EF251F3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41665" y="0"/>
            <a:ext cx="14422043" cy="6858000"/>
          </a:xfrm>
          <a:prstGeom prst="rect">
            <a:avLst/>
          </a:prstGeom>
          <a:noFill/>
        </p:spPr>
      </p:pic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6D7321B-7798-3288-43D1-98BB167242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2868" y="6338005"/>
            <a:ext cx="1121229" cy="365125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17/09/2024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5B920D6-358D-3F9B-DBFE-BCF806776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38004"/>
            <a:ext cx="5037084" cy="365125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Votre conformité RGPD mérite un logiciel performant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D5D9F4C-F026-8106-56D1-39C75E78E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0720" y="6356350"/>
            <a:ext cx="513079" cy="365125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B60F051A-2C40-4DB4-9DB8-47983C4B5745}" type="slidenum">
              <a:rPr kumimoji="0" lang="fr-FR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1586C424-EAB6-7BE7-6953-16D60BFCA8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0210BC67-DBB0-6B83-3206-9D1CD24D8371}"/>
              </a:ext>
            </a:extLst>
          </p:cNvPr>
          <p:cNvCxnSpPr/>
          <p:nvPr/>
        </p:nvCxnSpPr>
        <p:spPr>
          <a:xfrm>
            <a:off x="11366720" y="6356350"/>
            <a:ext cx="0" cy="50165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>
            <a:extLst>
              <a:ext uri="{FF2B5EF4-FFF2-40B4-BE49-F238E27FC236}">
                <a16:creationId xmlns:a16="http://schemas.microsoft.com/office/drawing/2014/main" id="{4C8FF0D5-C152-06E2-8B24-B74752A2E1C5}"/>
              </a:ext>
            </a:extLst>
          </p:cNvPr>
          <p:cNvSpPr txBox="1"/>
          <p:nvPr/>
        </p:nvSpPr>
        <p:spPr>
          <a:xfrm>
            <a:off x="968828" y="2033086"/>
            <a:ext cx="3247171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fr-FR" sz="2000" dirty="0">
                <a:solidFill>
                  <a:schemeClr val="bg1"/>
                </a:solidFill>
              </a:rPr>
              <a:t>Maîtriser</a:t>
            </a:r>
          </a:p>
          <a:p>
            <a:pPr marL="457200" indent="-457200">
              <a:buFont typeface="+mj-lt"/>
              <a:buAutoNum type="arabicPeriod"/>
            </a:pPr>
            <a:endParaRPr lang="fr-FR" sz="2000" dirty="0">
              <a:solidFill>
                <a:schemeClr val="bg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fr-FR" sz="2000" dirty="0">
                <a:solidFill>
                  <a:schemeClr val="bg1"/>
                </a:solidFill>
              </a:rPr>
              <a:t>Amélioration continue</a:t>
            </a:r>
          </a:p>
          <a:p>
            <a:pPr marL="457200" indent="-457200">
              <a:buFont typeface="+mj-lt"/>
              <a:buAutoNum type="arabicPeriod"/>
            </a:pPr>
            <a:endParaRPr lang="fr-FR" sz="2000" dirty="0">
              <a:solidFill>
                <a:schemeClr val="bg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fr-FR" sz="2000" dirty="0">
                <a:solidFill>
                  <a:schemeClr val="bg1"/>
                </a:solidFill>
              </a:rPr>
              <a:t>Anticiper</a:t>
            </a:r>
          </a:p>
        </p:txBody>
      </p:sp>
      <p:sp>
        <p:nvSpPr>
          <p:cNvPr id="5" name="Titre 3">
            <a:extLst>
              <a:ext uri="{FF2B5EF4-FFF2-40B4-BE49-F238E27FC236}">
                <a16:creationId xmlns:a16="http://schemas.microsoft.com/office/drawing/2014/main" id="{A2273223-4EA8-B475-7D31-4F6F304170CD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254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>
                <a:solidFill>
                  <a:schemeClr val="bg1"/>
                </a:solidFill>
              </a:rPr>
              <a:t>Faites de vos risques une opportunité !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284154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6D7321B-7798-3288-43D1-98BB167242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AD4FF-3335-4053-8610-CED0EB87F8ED}" type="datetime1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/09/2024</a:t>
            </a:fld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5B920D6-358D-3F9B-DBFE-BCF806776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otre conformité RGPD mérite un logiciel performant</a:t>
            </a: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grpSp>
        <p:nvGrpSpPr>
          <p:cNvPr id="23" name="Group 48">
            <a:extLst>
              <a:ext uri="{FF2B5EF4-FFF2-40B4-BE49-F238E27FC236}">
                <a16:creationId xmlns:a16="http://schemas.microsoft.com/office/drawing/2014/main" id="{1C075E51-95DE-81A5-24AA-D63D2D259633}"/>
              </a:ext>
            </a:extLst>
          </p:cNvPr>
          <p:cNvGrpSpPr/>
          <p:nvPr/>
        </p:nvGrpSpPr>
        <p:grpSpPr>
          <a:xfrm>
            <a:off x="1548860" y="2170456"/>
            <a:ext cx="2150645" cy="2150645"/>
            <a:chOff x="3593970" y="2709697"/>
            <a:chExt cx="2150645" cy="2150645"/>
          </a:xfrm>
        </p:grpSpPr>
        <p:sp>
          <p:nvSpPr>
            <p:cNvPr id="24" name="Block Arc 16">
              <a:extLst>
                <a:ext uri="{FF2B5EF4-FFF2-40B4-BE49-F238E27FC236}">
                  <a16:creationId xmlns:a16="http://schemas.microsoft.com/office/drawing/2014/main" id="{9D5552FD-B2FD-1E7D-019C-39034E446D0F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3593970" y="2709697"/>
              <a:ext cx="2150645" cy="2150645"/>
            </a:xfrm>
            <a:prstGeom prst="blockArc">
              <a:avLst>
                <a:gd name="adj1" fmla="val 0"/>
                <a:gd name="adj2" fmla="val 2160000"/>
                <a:gd name="adj3" fmla="val 12500"/>
              </a:avLst>
            </a:prstGeom>
            <a:solidFill>
              <a:srgbClr val="FFAE0E"/>
            </a:solidFill>
            <a:ln w="317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Block Arc 17">
              <a:extLst>
                <a:ext uri="{FF2B5EF4-FFF2-40B4-BE49-F238E27FC236}">
                  <a16:creationId xmlns:a16="http://schemas.microsoft.com/office/drawing/2014/main" id="{FD035E81-AAA5-2597-57E9-DAD665011C38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3593970" y="2709697"/>
              <a:ext cx="2150645" cy="2150645"/>
            </a:xfrm>
            <a:prstGeom prst="blockArc">
              <a:avLst>
                <a:gd name="adj1" fmla="val 2160000"/>
                <a:gd name="adj2" fmla="val 4320000"/>
                <a:gd name="adj3" fmla="val 12500"/>
              </a:avLst>
            </a:prstGeom>
            <a:solidFill>
              <a:schemeClr val="tx1">
                <a:lumMod val="85000"/>
              </a:schemeClr>
            </a:solidFill>
            <a:ln w="317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Block Arc 18">
              <a:extLst>
                <a:ext uri="{FF2B5EF4-FFF2-40B4-BE49-F238E27FC236}">
                  <a16:creationId xmlns:a16="http://schemas.microsoft.com/office/drawing/2014/main" id="{EF11A3F9-9828-4746-0796-03A94CD0E59B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3593970" y="2709697"/>
              <a:ext cx="2150645" cy="2150645"/>
            </a:xfrm>
            <a:prstGeom prst="blockArc">
              <a:avLst>
                <a:gd name="adj1" fmla="val 4320000"/>
                <a:gd name="adj2" fmla="val 6480000"/>
                <a:gd name="adj3" fmla="val 12500"/>
              </a:avLst>
            </a:pr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Block Arc 19">
              <a:extLst>
                <a:ext uri="{FF2B5EF4-FFF2-40B4-BE49-F238E27FC236}">
                  <a16:creationId xmlns:a16="http://schemas.microsoft.com/office/drawing/2014/main" id="{62475EBD-325A-1331-879D-82F48842C02B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3593970" y="2709697"/>
              <a:ext cx="2150645" cy="2150645"/>
            </a:xfrm>
            <a:prstGeom prst="blockArc">
              <a:avLst>
                <a:gd name="adj1" fmla="val 6480000"/>
                <a:gd name="adj2" fmla="val 8640000"/>
                <a:gd name="adj3" fmla="val 12500"/>
              </a:avLst>
            </a:pr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Block Arc 20">
              <a:extLst>
                <a:ext uri="{FF2B5EF4-FFF2-40B4-BE49-F238E27FC236}">
                  <a16:creationId xmlns:a16="http://schemas.microsoft.com/office/drawing/2014/main" id="{F15BFE4C-49EA-131A-A0AE-252257ABD041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3593970" y="2709697"/>
              <a:ext cx="2150645" cy="2150645"/>
            </a:xfrm>
            <a:prstGeom prst="blockArc">
              <a:avLst>
                <a:gd name="adj1" fmla="val 8640000"/>
                <a:gd name="adj2" fmla="val 10800000"/>
                <a:gd name="adj3" fmla="val 12500"/>
              </a:avLst>
            </a:pr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Block Arc 21">
              <a:extLst>
                <a:ext uri="{FF2B5EF4-FFF2-40B4-BE49-F238E27FC236}">
                  <a16:creationId xmlns:a16="http://schemas.microsoft.com/office/drawing/2014/main" id="{682598C0-264D-C6F2-2BCB-8C46D40B607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3593970" y="2709697"/>
              <a:ext cx="2150645" cy="2150645"/>
            </a:xfrm>
            <a:prstGeom prst="blockArc">
              <a:avLst>
                <a:gd name="adj1" fmla="val 10800000"/>
                <a:gd name="adj2" fmla="val 12960000"/>
                <a:gd name="adj3" fmla="val 12500"/>
              </a:avLst>
            </a:pr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Block Arc 22">
              <a:extLst>
                <a:ext uri="{FF2B5EF4-FFF2-40B4-BE49-F238E27FC236}">
                  <a16:creationId xmlns:a16="http://schemas.microsoft.com/office/drawing/2014/main" id="{78F71D86-E00F-E641-E989-07191B6925A8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3593970" y="2709697"/>
              <a:ext cx="2150645" cy="2150645"/>
            </a:xfrm>
            <a:prstGeom prst="blockArc">
              <a:avLst>
                <a:gd name="adj1" fmla="val 12960000"/>
                <a:gd name="adj2" fmla="val 15120000"/>
                <a:gd name="adj3" fmla="val 12500"/>
              </a:avLst>
            </a:prstGeom>
            <a:solidFill>
              <a:srgbClr val="FFFFFF">
                <a:lumMod val="85000"/>
              </a:srgbClr>
            </a:solidFill>
            <a:ln w="317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Block Arc 23">
              <a:extLst>
                <a:ext uri="{FF2B5EF4-FFF2-40B4-BE49-F238E27FC236}">
                  <a16:creationId xmlns:a16="http://schemas.microsoft.com/office/drawing/2014/main" id="{14F0D7AF-7A79-0900-91B1-11F9980EB7BD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3593970" y="2709697"/>
              <a:ext cx="2150645" cy="2150645"/>
            </a:xfrm>
            <a:prstGeom prst="blockArc">
              <a:avLst>
                <a:gd name="adj1" fmla="val 15120000"/>
                <a:gd name="adj2" fmla="val 17280000"/>
                <a:gd name="adj3" fmla="val 12500"/>
              </a:avLst>
            </a:prstGeom>
            <a:solidFill>
              <a:srgbClr val="FFAE0E"/>
            </a:solidFill>
            <a:ln w="317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Block Arc 24">
              <a:extLst>
                <a:ext uri="{FF2B5EF4-FFF2-40B4-BE49-F238E27FC236}">
                  <a16:creationId xmlns:a16="http://schemas.microsoft.com/office/drawing/2014/main" id="{27C29D5D-C28A-6F52-BCA0-7F0C8BA25AE0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3593970" y="2709697"/>
              <a:ext cx="2150645" cy="2150645"/>
            </a:xfrm>
            <a:prstGeom prst="blockArc">
              <a:avLst>
                <a:gd name="adj1" fmla="val 17280000"/>
                <a:gd name="adj2" fmla="val 19440000"/>
                <a:gd name="adj3" fmla="val 12500"/>
              </a:avLst>
            </a:prstGeom>
            <a:solidFill>
              <a:srgbClr val="FFAE0E"/>
            </a:solidFill>
            <a:ln w="317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Block Arc 25">
              <a:extLst>
                <a:ext uri="{FF2B5EF4-FFF2-40B4-BE49-F238E27FC236}">
                  <a16:creationId xmlns:a16="http://schemas.microsoft.com/office/drawing/2014/main" id="{61FFA9D3-A475-576C-47A1-E6830E8707C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3593970" y="2709697"/>
              <a:ext cx="2150645" cy="2150645"/>
            </a:xfrm>
            <a:prstGeom prst="blockArc">
              <a:avLst>
                <a:gd name="adj1" fmla="val 19440000"/>
                <a:gd name="adj2" fmla="val 0"/>
                <a:gd name="adj3" fmla="val 12500"/>
              </a:avLst>
            </a:prstGeom>
            <a:solidFill>
              <a:srgbClr val="FFAE0E"/>
            </a:solidFill>
            <a:ln w="3175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4" name="TextBox 73">
            <a:extLst>
              <a:ext uri="{FF2B5EF4-FFF2-40B4-BE49-F238E27FC236}">
                <a16:creationId xmlns:a16="http://schemas.microsoft.com/office/drawing/2014/main" id="{2D573979-041F-26B0-4A1B-635611C8E084}"/>
              </a:ext>
            </a:extLst>
          </p:cNvPr>
          <p:cNvSpPr txBox="1"/>
          <p:nvPr/>
        </p:nvSpPr>
        <p:spPr>
          <a:xfrm>
            <a:off x="941933" y="4684178"/>
            <a:ext cx="33644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1600" kern="0" dirty="0"/>
              <a:t>40% des traitements devraient </a:t>
            </a:r>
          </a:p>
          <a:p>
            <a:pPr algn="ctr">
              <a:defRPr/>
            </a:pPr>
            <a:r>
              <a:rPr lang="fr-FR" sz="1600" kern="0" dirty="0"/>
              <a:t>faire l’objet d’un PIA</a:t>
            </a:r>
          </a:p>
        </p:txBody>
      </p:sp>
      <p:sp>
        <p:nvSpPr>
          <p:cNvPr id="35" name="TextBox 77">
            <a:extLst>
              <a:ext uri="{FF2B5EF4-FFF2-40B4-BE49-F238E27FC236}">
                <a16:creationId xmlns:a16="http://schemas.microsoft.com/office/drawing/2014/main" id="{260527FA-F2DB-2C37-133C-320451AAA6FA}"/>
              </a:ext>
            </a:extLst>
          </p:cNvPr>
          <p:cNvSpPr txBox="1"/>
          <p:nvPr/>
        </p:nvSpPr>
        <p:spPr>
          <a:xfrm>
            <a:off x="1839400" y="2904861"/>
            <a:ext cx="1569563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200" b="1" kern="0" dirty="0">
                <a:latin typeface="Calibri"/>
              </a:rPr>
              <a:t>4</a:t>
            </a:r>
            <a:r>
              <a:rPr kumimoji="0" lang="fr-FR" sz="3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0%</a:t>
            </a:r>
            <a:endParaRPr kumimoji="0" lang="fr-FR" sz="3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7" name="Image 36" descr="Une image contenant texte, cercle, personne, disque compact&#10;&#10;Description générée automatiquement">
            <a:extLst>
              <a:ext uri="{FF2B5EF4-FFF2-40B4-BE49-F238E27FC236}">
                <a16:creationId xmlns:a16="http://schemas.microsoft.com/office/drawing/2014/main" id="{B3AD3766-D719-C688-AFF3-3536A433680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sp>
        <p:nvSpPr>
          <p:cNvPr id="41" name="Espace réservé du numéro de diapositive 3">
            <a:extLst>
              <a:ext uri="{FF2B5EF4-FFF2-40B4-BE49-F238E27FC236}">
                <a16:creationId xmlns:a16="http://schemas.microsoft.com/office/drawing/2014/main" id="{16A8210A-113D-E34E-E2BE-BA83FFCA5252}"/>
              </a:ext>
            </a:extLst>
          </p:cNvPr>
          <p:cNvSpPr txBox="1">
            <a:spLocks/>
          </p:cNvSpPr>
          <p:nvPr/>
        </p:nvSpPr>
        <p:spPr>
          <a:xfrm>
            <a:off x="10840720" y="6356350"/>
            <a:ext cx="51307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B60F051A-2C40-4DB4-9DB8-47983C4B574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42" name="Graphique 41">
            <a:extLst>
              <a:ext uri="{FF2B5EF4-FFF2-40B4-BE49-F238E27FC236}">
                <a16:creationId xmlns:a16="http://schemas.microsoft.com/office/drawing/2014/main" id="{D3D62FB9-D468-A4F0-15FC-3283BBE495E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508960" y="6374921"/>
            <a:ext cx="360000" cy="360000"/>
          </a:xfrm>
          <a:prstGeom prst="rect">
            <a:avLst/>
          </a:prstGeom>
        </p:spPr>
      </p:pic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ACB66C33-FBBC-A5C5-2D30-17E700ED1A2B}"/>
              </a:ext>
            </a:extLst>
          </p:cNvPr>
          <p:cNvCxnSpPr/>
          <p:nvPr/>
        </p:nvCxnSpPr>
        <p:spPr>
          <a:xfrm>
            <a:off x="11366720" y="6356350"/>
            <a:ext cx="0" cy="501650"/>
          </a:xfrm>
          <a:prstGeom prst="line">
            <a:avLst/>
          </a:prstGeom>
          <a:noFill/>
          <a:ln w="6350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sp>
        <p:nvSpPr>
          <p:cNvPr id="4" name="Titre 3">
            <a:extLst>
              <a:ext uri="{FF2B5EF4-FFF2-40B4-BE49-F238E27FC236}">
                <a16:creationId xmlns:a16="http://schemas.microsoft.com/office/drawing/2014/main" id="{2D3811DA-1F6B-8F4F-E5D1-F6446F387569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6254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fr-FR" dirty="0"/>
              <a:t>Le PIA en bref !</a:t>
            </a:r>
          </a:p>
        </p:txBody>
      </p:sp>
      <p:sp>
        <p:nvSpPr>
          <p:cNvPr id="6" name="Espace réservé de la date 1">
            <a:extLst>
              <a:ext uri="{FF2B5EF4-FFF2-40B4-BE49-F238E27FC236}">
                <a16:creationId xmlns:a16="http://schemas.microsoft.com/office/drawing/2014/main" id="{C90B8A26-312E-9E4B-72F0-F27031B28719}"/>
              </a:ext>
            </a:extLst>
          </p:cNvPr>
          <p:cNvSpPr txBox="1">
            <a:spLocks/>
          </p:cNvSpPr>
          <p:nvPr/>
        </p:nvSpPr>
        <p:spPr>
          <a:xfrm>
            <a:off x="6245268" y="6320277"/>
            <a:ext cx="112122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defRPr/>
            </a:pPr>
            <a:r>
              <a:rPr lang="fr-FR" dirty="0">
                <a:solidFill>
                  <a:schemeClr val="tx1"/>
                </a:solidFill>
              </a:rPr>
              <a:t>17/09/2024</a:t>
            </a:r>
          </a:p>
        </p:txBody>
      </p:sp>
    </p:spTree>
    <p:extLst>
      <p:ext uri="{BB962C8B-B14F-4D97-AF65-F5344CB8AC3E}">
        <p14:creationId xmlns:p14="http://schemas.microsoft.com/office/powerpoint/2010/main" val="253789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AA5F3CAB-C599-0EC3-65C2-C620801AABD5}"/>
              </a:ext>
            </a:extLst>
          </p:cNvPr>
          <p:cNvSpPr/>
          <p:nvPr/>
        </p:nvSpPr>
        <p:spPr>
          <a:xfrm>
            <a:off x="2719754" y="3768627"/>
            <a:ext cx="2209795" cy="21970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468000" rtlCol="0" anchor="ctr"/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"/>
              <a:ea typeface="+mn-ea"/>
              <a:cs typeface="+mn-cs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Granularité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B7D523-383B-B273-FAAE-7556AD016B55}"/>
              </a:ext>
            </a:extLst>
          </p:cNvPr>
          <p:cNvSpPr/>
          <p:nvPr/>
        </p:nvSpPr>
        <p:spPr>
          <a:xfrm>
            <a:off x="2730387" y="1571529"/>
            <a:ext cx="2197098" cy="21970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11245E"/>
              </a:solidFill>
              <a:effectLst/>
              <a:uLnTx/>
              <a:uFillTx/>
              <a:latin typeface="Avenir Next 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Démarche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3A685F-1DE1-A7F8-533E-B51F5605BFF5}"/>
              </a:ext>
            </a:extLst>
          </p:cNvPr>
          <p:cNvSpPr/>
          <p:nvPr/>
        </p:nvSpPr>
        <p:spPr>
          <a:xfrm>
            <a:off x="4926900" y="3768627"/>
            <a:ext cx="2197098" cy="21970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468000" rtlCol="0" anchor="ctr"/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"/>
              <a:ea typeface="+mn-ea"/>
              <a:cs typeface="+mn-cs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Équilib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7E80D96-F3BA-9991-F58B-8371BCEA0061}"/>
              </a:ext>
            </a:extLst>
          </p:cNvPr>
          <p:cNvSpPr/>
          <p:nvPr/>
        </p:nvSpPr>
        <p:spPr>
          <a:xfrm>
            <a:off x="7126647" y="3768627"/>
            <a:ext cx="2197098" cy="21970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63BBDC-07C0-AC85-BC9A-3B642D3E3C8E}"/>
              </a:ext>
            </a:extLst>
          </p:cNvPr>
          <p:cNvSpPr/>
          <p:nvPr/>
        </p:nvSpPr>
        <p:spPr>
          <a:xfrm>
            <a:off x="4927485" y="1571529"/>
            <a:ext cx="2197098" cy="21970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Prépar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91D9F7-B4A2-5BC2-E8AB-163A97E7960C}"/>
              </a:ext>
            </a:extLst>
          </p:cNvPr>
          <p:cNvSpPr/>
          <p:nvPr/>
        </p:nvSpPr>
        <p:spPr>
          <a:xfrm>
            <a:off x="7124583" y="1571529"/>
            <a:ext cx="2197098" cy="219709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2000" b="1" dirty="0">
              <a:solidFill>
                <a:srgbClr val="11245E"/>
              </a:solidFill>
              <a:latin typeface="Avenir Next 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000" b="1" dirty="0">
                <a:solidFill>
                  <a:schemeClr val="bg1"/>
                </a:solidFill>
                <a:latin typeface="Avenir Next "/>
              </a:rPr>
              <a:t>R</a:t>
            </a:r>
            <a:r>
              <a:rPr kumimoji="0" lang="fr-F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épartir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C0CFEC-18F0-74EB-A468-6C38A6F5B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817888" cy="625475"/>
          </a:xfrm>
        </p:spPr>
        <p:txBody>
          <a:bodyPr>
            <a:noAutofit/>
          </a:bodyPr>
          <a:lstStyle/>
          <a:p>
            <a:r>
              <a:rPr lang="fr-FR" dirty="0"/>
              <a:t>Les 5 clés pour bâtir un dispositif conforme …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ED8578C-4C51-7965-DB70-6BB1C67D71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7/09/2024</a:t>
            </a: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93D5F5F0-69D8-7A41-D608-46BACB124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otre conformité RGPD mérite un logiciel performant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92D1DC91-028D-5BC8-A06C-216FB0D2A7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0F051A-2C40-4DB4-9DB8-47983C4B574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1245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27" name="Graphique 26" descr="Cible">
            <a:extLst>
              <a:ext uri="{FF2B5EF4-FFF2-40B4-BE49-F238E27FC236}">
                <a16:creationId xmlns:a16="http://schemas.microsoft.com/office/drawing/2014/main" id="{CE26807A-F910-3466-029D-5A7F4B32DDC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59526" y="1880831"/>
            <a:ext cx="704854" cy="704854"/>
          </a:xfrm>
          <a:prstGeom prst="rect">
            <a:avLst/>
          </a:prstGeom>
        </p:spPr>
      </p:pic>
      <p:pic>
        <p:nvPicPr>
          <p:cNvPr id="29" name="Graphique 28" descr="Loupe">
            <a:extLst>
              <a:ext uri="{FF2B5EF4-FFF2-40B4-BE49-F238E27FC236}">
                <a16:creationId xmlns:a16="http://schemas.microsoft.com/office/drawing/2014/main" id="{07208FA8-E9C8-A807-3FCF-F89A9C0B67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56624" y="1880831"/>
            <a:ext cx="704854" cy="704854"/>
          </a:xfrm>
          <a:prstGeom prst="rect">
            <a:avLst/>
          </a:prstGeom>
        </p:spPr>
      </p:pic>
      <p:pic>
        <p:nvPicPr>
          <p:cNvPr id="31" name="Graphique 30" descr="Guide opérationnel">
            <a:extLst>
              <a:ext uri="{FF2B5EF4-FFF2-40B4-BE49-F238E27FC236}">
                <a16:creationId xmlns:a16="http://schemas.microsoft.com/office/drawing/2014/main" id="{4ED55B0A-FC5E-767D-F9CA-64191E4E2B7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60072" y="1880831"/>
            <a:ext cx="704854" cy="704854"/>
          </a:xfrm>
          <a:prstGeom prst="rect">
            <a:avLst/>
          </a:prstGeom>
        </p:spPr>
      </p:pic>
      <p:pic>
        <p:nvPicPr>
          <p:cNvPr id="38" name="Graphique 37" descr="Coche">
            <a:extLst>
              <a:ext uri="{FF2B5EF4-FFF2-40B4-BE49-F238E27FC236}">
                <a16:creationId xmlns:a16="http://schemas.microsoft.com/office/drawing/2014/main" id="{AA922BDA-61A1-7811-B3AF-5569E68FCC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39403" y="4075368"/>
            <a:ext cx="1498601" cy="1498601"/>
          </a:xfrm>
          <a:prstGeom prst="rect">
            <a:avLst/>
          </a:prstGeom>
        </p:spPr>
      </p:pic>
      <p:pic>
        <p:nvPicPr>
          <p:cNvPr id="39" name="Graphique 38" descr="Œil">
            <a:extLst>
              <a:ext uri="{FF2B5EF4-FFF2-40B4-BE49-F238E27FC236}">
                <a16:creationId xmlns:a16="http://schemas.microsoft.com/office/drawing/2014/main" id="{0138E0DE-7F70-0D03-BD72-62053126AAC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16666" y="3996035"/>
            <a:ext cx="704854" cy="704854"/>
          </a:xfrm>
          <a:prstGeom prst="rect">
            <a:avLst/>
          </a:prstGeom>
        </p:spPr>
      </p:pic>
      <p:pic>
        <p:nvPicPr>
          <p:cNvPr id="6" name="Graphique 5" descr="Yoga avec un remplissage uni">
            <a:extLst>
              <a:ext uri="{FF2B5EF4-FFF2-40B4-BE49-F238E27FC236}">
                <a16:creationId xmlns:a16="http://schemas.microsoft.com/office/drawing/2014/main" id="{46363718-C60C-BF84-6FA2-6CBF7591CDE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53062" y="3996035"/>
            <a:ext cx="765556" cy="765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6756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AA5F3CAB-C599-0EC3-65C2-C620801AABD5}"/>
              </a:ext>
            </a:extLst>
          </p:cNvPr>
          <p:cNvSpPr/>
          <p:nvPr/>
        </p:nvSpPr>
        <p:spPr>
          <a:xfrm>
            <a:off x="2719754" y="3768627"/>
            <a:ext cx="2209795" cy="219709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468000" rtlCol="0" anchor="ctr"/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Bonnes pratiqu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B7D523-383B-B273-FAAE-7556AD016B55}"/>
              </a:ext>
            </a:extLst>
          </p:cNvPr>
          <p:cNvSpPr/>
          <p:nvPr/>
        </p:nvSpPr>
        <p:spPr>
          <a:xfrm>
            <a:off x="2719754" y="1571529"/>
            <a:ext cx="2197098" cy="21970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Le mouvement c’est la vie !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3A685F-1DE1-A7F8-533E-B51F5605BFF5}"/>
              </a:ext>
            </a:extLst>
          </p:cNvPr>
          <p:cNvSpPr/>
          <p:nvPr/>
        </p:nvSpPr>
        <p:spPr>
          <a:xfrm>
            <a:off x="4926900" y="3768627"/>
            <a:ext cx="2197098" cy="21970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468000" rtlCol="0" anchor="ctr"/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Bien s’outill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7E80D96-F3BA-9991-F58B-8371BCEA0061}"/>
              </a:ext>
            </a:extLst>
          </p:cNvPr>
          <p:cNvSpPr/>
          <p:nvPr/>
        </p:nvSpPr>
        <p:spPr>
          <a:xfrm>
            <a:off x="7126647" y="3771274"/>
            <a:ext cx="2197098" cy="21970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63BBDC-07C0-AC85-BC9A-3B642D3E3C8E}"/>
              </a:ext>
            </a:extLst>
          </p:cNvPr>
          <p:cNvSpPr/>
          <p:nvPr/>
        </p:nvSpPr>
        <p:spPr>
          <a:xfrm>
            <a:off x="4916852" y="1571529"/>
            <a:ext cx="2197098" cy="21970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Fréquence des revu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91D9F7-B4A2-5BC2-E8AB-163A97E7960C}"/>
              </a:ext>
            </a:extLst>
          </p:cNvPr>
          <p:cNvSpPr/>
          <p:nvPr/>
        </p:nvSpPr>
        <p:spPr>
          <a:xfrm>
            <a:off x="7113950" y="1571529"/>
            <a:ext cx="2197098" cy="219709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000" b="1" dirty="0">
                <a:solidFill>
                  <a:schemeClr val="bg1"/>
                </a:solidFill>
                <a:latin typeface="Avenir Next "/>
              </a:rPr>
              <a:t>Postu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000" b="1" dirty="0">
                <a:solidFill>
                  <a:schemeClr val="bg1"/>
                </a:solidFill>
                <a:latin typeface="Avenir Next "/>
              </a:rPr>
              <a:t>du DPO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C0CFEC-18F0-74EB-A468-6C38A6F5B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817888" cy="625475"/>
          </a:xfrm>
        </p:spPr>
        <p:txBody>
          <a:bodyPr>
            <a:noAutofit/>
          </a:bodyPr>
          <a:lstStyle/>
          <a:p>
            <a:r>
              <a:rPr lang="fr-FR" dirty="0"/>
              <a:t>Assurer le maintien dans le temps …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ED8578C-4C51-7965-DB70-6BB1C67D71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7/09/2024</a:t>
            </a: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93D5F5F0-69D8-7A41-D608-46BACB124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otre conformité RGPD mérite un logiciel performant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92D1DC91-028D-5BC8-A06C-216FB0D2A7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0F051A-2C40-4DB4-9DB8-47983C4B574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1245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38" name="Graphique 37" descr="Coche">
            <a:extLst>
              <a:ext uri="{FF2B5EF4-FFF2-40B4-BE49-F238E27FC236}">
                <a16:creationId xmlns:a16="http://schemas.microsoft.com/office/drawing/2014/main" id="{AA922BDA-61A1-7811-B3AF-5569E68FCC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39403" y="4075368"/>
            <a:ext cx="1498601" cy="1498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61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Une image contenant art, intérieur&#10;&#10;Description générée automatiquement">
            <a:extLst>
              <a:ext uri="{FF2B5EF4-FFF2-40B4-BE49-F238E27FC236}">
                <a16:creationId xmlns:a16="http://schemas.microsoft.com/office/drawing/2014/main" id="{53C270AD-438B-AF93-55FE-F0C074B01FF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1208311"/>
            <a:ext cx="10515600" cy="5000400"/>
          </a:xfrm>
          <a:prstGeom prst="rect">
            <a:avLst/>
          </a:prstGeom>
          <a:noFill/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ED8578C-4C51-7965-DB70-6BB1C67D71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2868" y="6338005"/>
            <a:ext cx="1121229" cy="365125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17/09/2024</a:t>
            </a: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93D5F5F0-69D8-7A41-D608-46BACB124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38004"/>
            <a:ext cx="5037084" cy="365125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Votre conformité RGPD mérite un logiciel performant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92D1DC91-028D-5BC8-A06C-216FB0D2A7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0720" y="6356350"/>
            <a:ext cx="513079" cy="365125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B60F051A-2C40-4DB4-9DB8-47983C4B5745}" type="slidenum">
              <a:rPr kumimoji="0" lang="fr-FR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C0CFEC-18F0-74EB-A468-6C38A6F5B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5475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fr-FR" dirty="0"/>
              <a:t>PIA … SIA … RIA … HAHAHAHAHA !</a:t>
            </a:r>
          </a:p>
        </p:txBody>
      </p:sp>
    </p:spTree>
    <p:extLst>
      <p:ext uri="{BB962C8B-B14F-4D97-AF65-F5344CB8AC3E}">
        <p14:creationId xmlns:p14="http://schemas.microsoft.com/office/powerpoint/2010/main" val="9802553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EE63BBDC-07C0-AC85-BC9A-3B642D3E3C8E}"/>
              </a:ext>
            </a:extLst>
          </p:cNvPr>
          <p:cNvSpPr/>
          <p:nvPr/>
        </p:nvSpPr>
        <p:spPr>
          <a:xfrm>
            <a:off x="4590798" y="1930015"/>
            <a:ext cx="3010404" cy="29979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Particularité des risqu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91D9F7-B4A2-5BC2-E8AB-163A97E7960C}"/>
              </a:ext>
            </a:extLst>
          </p:cNvPr>
          <p:cNvSpPr/>
          <p:nvPr/>
        </p:nvSpPr>
        <p:spPr>
          <a:xfrm>
            <a:off x="7588768" y="1930015"/>
            <a:ext cx="2997970" cy="29979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Analyse d’impact RGP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000" b="1" dirty="0">
                <a:solidFill>
                  <a:srgbClr val="FFFFFF"/>
                </a:solidFill>
                <a:latin typeface="Avenir Next "/>
              </a:rPr>
              <a:t>V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Analyses de risques IA </a:t>
            </a:r>
            <a:r>
              <a:rPr kumimoji="0" lang="fr-F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Act</a:t>
            </a: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DC0CFEC-18F0-74EB-A468-6C38A6F5B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817888" cy="625475"/>
          </a:xfrm>
        </p:spPr>
        <p:txBody>
          <a:bodyPr>
            <a:noAutofit/>
          </a:bodyPr>
          <a:lstStyle/>
          <a:p>
            <a:r>
              <a:rPr lang="fr-FR" dirty="0"/>
              <a:t>Aller au-delà du PIA …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ED8578C-4C51-7965-DB70-6BB1C67D71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7/09/2024</a:t>
            </a: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93D5F5F0-69D8-7A41-D608-46BACB1245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otre conformité RGPD mérite un logiciel performant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92D1DC91-028D-5BC8-A06C-216FB0D2A7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0F051A-2C40-4DB4-9DB8-47983C4B5745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11245E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9776A9-F3FA-B553-C1E0-46437B3CF290}"/>
              </a:ext>
            </a:extLst>
          </p:cNvPr>
          <p:cNvSpPr/>
          <p:nvPr/>
        </p:nvSpPr>
        <p:spPr>
          <a:xfrm>
            <a:off x="1592828" y="1930015"/>
            <a:ext cx="2997970" cy="29979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11245E"/>
                </a:solidFill>
                <a:effectLst/>
                <a:uLnTx/>
                <a:uFillTx/>
                <a:latin typeface="Avenir Next "/>
                <a:ea typeface="+mn-ea"/>
                <a:cs typeface="+mn-cs"/>
              </a:rPr>
              <a:t>AIPD et système d’IA</a:t>
            </a:r>
          </a:p>
        </p:txBody>
      </p:sp>
    </p:spTree>
    <p:extLst>
      <p:ext uri="{BB962C8B-B14F-4D97-AF65-F5344CB8AC3E}">
        <p14:creationId xmlns:p14="http://schemas.microsoft.com/office/powerpoint/2010/main" val="968634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heme/theme1.xml><?xml version="1.0" encoding="utf-8"?>
<a:theme xmlns:a="http://schemas.openxmlformats.org/drawingml/2006/main" name="Thème Adequacy">
  <a:themeElements>
    <a:clrScheme name="Adequacy-2024-V4">
      <a:dk1>
        <a:sysClr val="windowText" lastClr="000000"/>
      </a:dk1>
      <a:lt1>
        <a:srgbClr val="FFFFFF"/>
      </a:lt1>
      <a:dk2>
        <a:srgbClr val="11245E"/>
      </a:dk2>
      <a:lt2>
        <a:srgbClr val="EEECE1"/>
      </a:lt2>
      <a:accent1>
        <a:srgbClr val="B0FEDE"/>
      </a:accent1>
      <a:accent2>
        <a:srgbClr val="55FDB5"/>
      </a:accent2>
      <a:accent3>
        <a:srgbClr val="0095DE"/>
      </a:accent3>
      <a:accent4>
        <a:srgbClr val="11245E"/>
      </a:accent4>
      <a:accent5>
        <a:srgbClr val="B1B1B1"/>
      </a:accent5>
      <a:accent6>
        <a:srgbClr val="2C2C2C"/>
      </a:accent6>
      <a:hlink>
        <a:srgbClr val="0563C1"/>
      </a:hlink>
      <a:folHlink>
        <a:srgbClr val="954F72"/>
      </a:folHlink>
    </a:clrScheme>
    <a:fontScheme name="Adequacy 2024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2">
            <a:shade val="15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odele-Adequacy-2024.potx" id="{06B7B8A4-5587-465E-834B-D6FDEC74D8CF}" vid="{6ABC2AF7-4AA3-41D2-B596-7F3EB91B7371}"/>
    </a:ext>
  </a:extLst>
</a:theme>
</file>

<file path=ppt/theme/theme2.xml><?xml version="1.0" encoding="utf-8"?>
<a:theme xmlns:a="http://schemas.openxmlformats.org/drawingml/2006/main" name="Thème Office">
  <a:themeElements>
    <a:clrScheme name="Adequacy-2024-V4">
      <a:dk1>
        <a:sysClr val="windowText" lastClr="000000"/>
      </a:dk1>
      <a:lt1>
        <a:srgbClr val="FFFFFF"/>
      </a:lt1>
      <a:dk2>
        <a:srgbClr val="11245E"/>
      </a:dk2>
      <a:lt2>
        <a:srgbClr val="EEECE1"/>
      </a:lt2>
      <a:accent1>
        <a:srgbClr val="B0FEDE"/>
      </a:accent1>
      <a:accent2>
        <a:srgbClr val="55FDB5"/>
      </a:accent2>
      <a:accent3>
        <a:srgbClr val="0095DE"/>
      </a:accent3>
      <a:accent4>
        <a:srgbClr val="11245E"/>
      </a:accent4>
      <a:accent5>
        <a:srgbClr val="808080"/>
      </a:accent5>
      <a:accent6>
        <a:srgbClr val="FFC000"/>
      </a:accent6>
      <a:hlink>
        <a:srgbClr val="0563C1"/>
      </a:hlink>
      <a:folHlink>
        <a:srgbClr val="954F72"/>
      </a:folHlink>
    </a:clrScheme>
    <a:fontScheme name="Adequacy 2024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ele-Adequacy-2024-V4.potx" id="{87D79864-A577-4B27-B982-15E4D6160954}" vid="{0F076144-D09C-4149-9398-57CB0091C307}"/>
    </a:ext>
  </a:extLst>
</a:theme>
</file>

<file path=ppt/theme/theme3.xml><?xml version="1.0" encoding="utf-8"?>
<a:theme xmlns:a="http://schemas.openxmlformats.org/drawingml/2006/main" name="Pages de contenus">
  <a:themeElements>
    <a:clrScheme name="Infhotep 2022">
      <a:dk1>
        <a:srgbClr val="000000"/>
      </a:dk1>
      <a:lt1>
        <a:srgbClr val="FFFFFF"/>
      </a:lt1>
      <a:dk2>
        <a:srgbClr val="11245E"/>
      </a:dk2>
      <a:lt2>
        <a:srgbClr val="0095D9"/>
      </a:lt2>
      <a:accent1>
        <a:srgbClr val="00484E"/>
      </a:accent1>
      <a:accent2>
        <a:srgbClr val="00C2BB"/>
      </a:accent2>
      <a:accent3>
        <a:srgbClr val="F15106"/>
      </a:accent3>
      <a:accent4>
        <a:srgbClr val="FFAE0E"/>
      </a:accent4>
      <a:accent5>
        <a:srgbClr val="63388E"/>
      </a:accent5>
      <a:accent6>
        <a:srgbClr val="FF66FF"/>
      </a:accent6>
      <a:hlink>
        <a:srgbClr val="800080"/>
      </a:hlink>
      <a:folHlink>
        <a:srgbClr val="0070C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7" id="{4730CFE1-6837-4CB4-9872-325D0A8146DE}" vid="{3FCB3A49-0D31-4460-9433-CE5722C532D8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nfhotep 2022">
    <a:dk1>
      <a:srgbClr val="000000"/>
    </a:dk1>
    <a:lt1>
      <a:srgbClr val="FFFFFF"/>
    </a:lt1>
    <a:dk2>
      <a:srgbClr val="11245E"/>
    </a:dk2>
    <a:lt2>
      <a:srgbClr val="0095D9"/>
    </a:lt2>
    <a:accent1>
      <a:srgbClr val="00484E"/>
    </a:accent1>
    <a:accent2>
      <a:srgbClr val="00C2BB"/>
    </a:accent2>
    <a:accent3>
      <a:srgbClr val="F15106"/>
    </a:accent3>
    <a:accent4>
      <a:srgbClr val="FFAE0E"/>
    </a:accent4>
    <a:accent5>
      <a:srgbClr val="63388E"/>
    </a:accent5>
    <a:accent6>
      <a:srgbClr val="FF66FF"/>
    </a:accent6>
    <a:hlink>
      <a:srgbClr val="800080"/>
    </a:hlink>
    <a:folHlink>
      <a:srgbClr val="0070C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Modele-Adequacy-2024</Template>
  <TotalTime>189</TotalTime>
  <Words>299</Words>
  <Application>Microsoft Office PowerPoint</Application>
  <PresentationFormat>Grand écran</PresentationFormat>
  <Paragraphs>92</Paragraphs>
  <Slides>11</Slides>
  <Notes>2</Notes>
  <HiddenSlides>0</HiddenSlides>
  <MMClips>0</MMClips>
  <ScaleCrop>false</ScaleCrop>
  <HeadingPairs>
    <vt:vector size="6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3</vt:i4>
      </vt:variant>
      <vt:variant>
        <vt:lpstr>Titres des diapositives</vt:lpstr>
      </vt:variant>
      <vt:variant>
        <vt:i4>11</vt:i4>
      </vt:variant>
    </vt:vector>
  </HeadingPairs>
  <TitlesOfParts>
    <vt:vector size="20" baseType="lpstr">
      <vt:lpstr>Arial</vt:lpstr>
      <vt:lpstr>Avenir Next </vt:lpstr>
      <vt:lpstr>Avenir Next LT Pro</vt:lpstr>
      <vt:lpstr>Calibri</vt:lpstr>
      <vt:lpstr>Verdana</vt:lpstr>
      <vt:lpstr>Wingdings 3</vt:lpstr>
      <vt:lpstr>Thème Adequacy</vt:lpstr>
      <vt:lpstr>Thème Office</vt:lpstr>
      <vt:lpstr>Pages de contenus</vt:lpstr>
      <vt:lpstr>Présentation PowerPoint</vt:lpstr>
      <vt:lpstr>Intervenants</vt:lpstr>
      <vt:lpstr>Le PIA, c’est (toujours) maintenant !</vt:lpstr>
      <vt:lpstr>Présentation PowerPoint</vt:lpstr>
      <vt:lpstr>Présentation PowerPoint</vt:lpstr>
      <vt:lpstr>Les 5 clés pour bâtir un dispositif conforme …</vt:lpstr>
      <vt:lpstr>Assurer le maintien dans le temps …</vt:lpstr>
      <vt:lpstr>PIA … SIA … RIA … HAHAHAHAHA !</vt:lpstr>
      <vt:lpstr>Aller au-delà du PIA …</vt:lpstr>
      <vt:lpstr>Finalement, les PIA … 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téphane galois</dc:creator>
  <cp:lastModifiedBy>lrussomanno</cp:lastModifiedBy>
  <cp:revision>11</cp:revision>
  <cp:lastPrinted>2024-06-27T08:07:48Z</cp:lastPrinted>
  <dcterms:created xsi:type="dcterms:W3CDTF">2024-09-12T10:11:27Z</dcterms:created>
  <dcterms:modified xsi:type="dcterms:W3CDTF">2024-09-16T12:35:31Z</dcterms:modified>
</cp:coreProperties>
</file>